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4" r:id="rId2"/>
  </p:sldMasterIdLst>
  <p:notesMasterIdLst>
    <p:notesMasterId r:id="rId11"/>
  </p:notesMasterIdLst>
  <p:handoutMasterIdLst>
    <p:handoutMasterId r:id="rId12"/>
  </p:handoutMasterIdLst>
  <p:sldIdLst>
    <p:sldId id="350" r:id="rId3"/>
    <p:sldId id="360" r:id="rId4"/>
    <p:sldId id="362" r:id="rId5"/>
    <p:sldId id="364" r:id="rId6"/>
    <p:sldId id="363" r:id="rId7"/>
    <p:sldId id="365" r:id="rId8"/>
    <p:sldId id="358" r:id="rId9"/>
    <p:sldId id="351" r:id="rId10"/>
  </p:sldIdLst>
  <p:sldSz cx="9144000" cy="5143500" type="screen16x9"/>
  <p:notesSz cx="6797675" cy="9928225"/>
  <p:custDataLst>
    <p:tags r:id="rId13"/>
  </p:custDataLst>
  <p:defaultTextStyle>
    <a:defPPr>
      <a:defRPr lang="en-US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620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300"/>
    <a:srgbClr val="15559F"/>
    <a:srgbClr val="124F96"/>
    <a:srgbClr val="145098"/>
    <a:srgbClr val="5988C3"/>
    <a:srgbClr val="092547"/>
    <a:srgbClr val="040910"/>
    <a:srgbClr val="84A2CD"/>
    <a:srgbClr val="1E69B9"/>
    <a:srgbClr val="3D64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 pośredni 2 — Ak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yl pośredni 2 — Ak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yl pośredni 2 — Ak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Styl pośredni 2 — Ak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yl pośredni 2 — Ak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Styl pośredni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26" autoAdjust="0"/>
    <p:restoredTop sz="95353" autoAdjust="0"/>
  </p:normalViewPr>
  <p:slideViewPr>
    <p:cSldViewPr snapToGrid="0" snapToObjects="1" showGuides="1">
      <p:cViewPr varScale="1">
        <p:scale>
          <a:sx n="126" d="100"/>
          <a:sy n="126" d="100"/>
        </p:scale>
        <p:origin x="848" y="192"/>
      </p:cViewPr>
      <p:guideLst>
        <p:guide orient="horz" pos="2160"/>
        <p:guide pos="3840"/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-618"/>
    </p:cViewPr>
  </p:sorterViewPr>
  <p:notesViewPr>
    <p:cSldViewPr snapToGrid="0" snapToObjects="1">
      <p:cViewPr varScale="1">
        <p:scale>
          <a:sx n="89" d="100"/>
          <a:sy n="89" d="100"/>
        </p:scale>
        <p:origin x="3078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9C992D-86EE-4B77-9D4C-0D3138F2A9C0}" type="datetimeFigureOut">
              <a:rPr lang="en-US" smtClean="0"/>
              <a:t>12/8/18</a:t>
            </a:fld>
            <a:endParaRPr lang="en-US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B8BC91-471F-4613-9B72-F3B8D23202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0482157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E52200-DE67-4D17-A239-BD0D2B730F6A}" type="datetimeFigureOut">
              <a:rPr lang="en-US" smtClean="0"/>
              <a:t>12/8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21621D-0475-40FC-B0DD-5E5774764B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637605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D46B59-6221-470E-BE8C-6885EF2DFBD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6898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D46B59-6221-470E-BE8C-6885EF2DFBD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8655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D46B59-6221-470E-BE8C-6885EF2DFBD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823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D46B59-6221-470E-BE8C-6885EF2DFBD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4724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D46B59-6221-470E-BE8C-6885EF2DFBD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942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D46B59-6221-470E-BE8C-6885EF2DFBD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9896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9" name="Shape 3139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3140" name="Shape 3140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398932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/ 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Prostokąt 2"/>
          <p:cNvSpPr/>
          <p:nvPr userDrawn="1"/>
        </p:nvSpPr>
        <p:spPr>
          <a:xfrm>
            <a:off x="793" y="0"/>
            <a:ext cx="9144000" cy="514350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>
              <a:ln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155" name="Tytuł 1"/>
          <p:cNvSpPr>
            <a:spLocks noGrp="1"/>
          </p:cNvSpPr>
          <p:nvPr>
            <p:ph type="title" hasCustomPrompt="1"/>
          </p:nvPr>
        </p:nvSpPr>
        <p:spPr>
          <a:xfrm>
            <a:off x="3933825" y="1496625"/>
            <a:ext cx="4953436" cy="863661"/>
          </a:xfrm>
        </p:spPr>
        <p:txBody>
          <a:bodyPr anchor="ctr"/>
          <a:lstStyle>
            <a:lvl1pPr algn="l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EDIT TITLE</a:t>
            </a:r>
            <a:endParaRPr lang="en-US" dirty="0"/>
          </a:p>
        </p:txBody>
      </p:sp>
      <p:grpSp>
        <p:nvGrpSpPr>
          <p:cNvPr id="173" name="Group 35"/>
          <p:cNvGrpSpPr>
            <a:grpSpLocks noChangeAspect="1"/>
          </p:cNvGrpSpPr>
          <p:nvPr userDrawn="1"/>
        </p:nvGrpSpPr>
        <p:grpSpPr bwMode="auto">
          <a:xfrm>
            <a:off x="609601" y="849169"/>
            <a:ext cx="2507458" cy="3026386"/>
            <a:chOff x="2363" y="293"/>
            <a:chExt cx="1208" cy="1458"/>
          </a:xfrm>
        </p:grpSpPr>
        <p:sp>
          <p:nvSpPr>
            <p:cNvPr id="174" name="Freeform 36"/>
            <p:cNvSpPr>
              <a:spLocks/>
            </p:cNvSpPr>
            <p:nvPr userDrawn="1"/>
          </p:nvSpPr>
          <p:spPr bwMode="auto">
            <a:xfrm>
              <a:off x="2943" y="1403"/>
              <a:ext cx="130" cy="117"/>
            </a:xfrm>
            <a:custGeom>
              <a:avLst/>
              <a:gdLst>
                <a:gd name="T0" fmla="*/ 130 w 130"/>
                <a:gd name="T1" fmla="*/ 0 h 117"/>
                <a:gd name="T2" fmla="*/ 129 w 130"/>
                <a:gd name="T3" fmla="*/ 0 h 117"/>
                <a:gd name="T4" fmla="*/ 0 w 130"/>
                <a:gd name="T5" fmla="*/ 11 h 117"/>
                <a:gd name="T6" fmla="*/ 74 w 130"/>
                <a:gd name="T7" fmla="*/ 117 h 117"/>
                <a:gd name="T8" fmla="*/ 74 w 130"/>
                <a:gd name="T9" fmla="*/ 117 h 117"/>
                <a:gd name="T10" fmla="*/ 130 w 130"/>
                <a:gd name="T1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117">
                  <a:moveTo>
                    <a:pt x="130" y="0"/>
                  </a:moveTo>
                  <a:lnTo>
                    <a:pt x="129" y="0"/>
                  </a:lnTo>
                  <a:lnTo>
                    <a:pt x="0" y="11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130" y="0"/>
                  </a:lnTo>
                  <a:close/>
                </a:path>
              </a:pathLst>
            </a:custGeom>
            <a:solidFill>
              <a:srgbClr val="124F9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37"/>
            <p:cNvSpPr>
              <a:spLocks/>
            </p:cNvSpPr>
            <p:nvPr userDrawn="1"/>
          </p:nvSpPr>
          <p:spPr bwMode="auto">
            <a:xfrm>
              <a:off x="2943" y="1403"/>
              <a:ext cx="130" cy="117"/>
            </a:xfrm>
            <a:custGeom>
              <a:avLst/>
              <a:gdLst>
                <a:gd name="T0" fmla="*/ 130 w 130"/>
                <a:gd name="T1" fmla="*/ 0 h 117"/>
                <a:gd name="T2" fmla="*/ 129 w 130"/>
                <a:gd name="T3" fmla="*/ 0 h 117"/>
                <a:gd name="T4" fmla="*/ 0 w 130"/>
                <a:gd name="T5" fmla="*/ 11 h 117"/>
                <a:gd name="T6" fmla="*/ 74 w 130"/>
                <a:gd name="T7" fmla="*/ 117 h 117"/>
                <a:gd name="T8" fmla="*/ 74 w 130"/>
                <a:gd name="T9" fmla="*/ 117 h 117"/>
                <a:gd name="T10" fmla="*/ 130 w 130"/>
                <a:gd name="T1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117">
                  <a:moveTo>
                    <a:pt x="130" y="0"/>
                  </a:moveTo>
                  <a:lnTo>
                    <a:pt x="129" y="0"/>
                  </a:lnTo>
                  <a:lnTo>
                    <a:pt x="0" y="11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13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8"/>
            <p:cNvSpPr>
              <a:spLocks/>
            </p:cNvSpPr>
            <p:nvPr userDrawn="1"/>
          </p:nvSpPr>
          <p:spPr bwMode="auto">
            <a:xfrm>
              <a:off x="3194" y="1021"/>
              <a:ext cx="83" cy="84"/>
            </a:xfrm>
            <a:custGeom>
              <a:avLst/>
              <a:gdLst>
                <a:gd name="T0" fmla="*/ 26 w 83"/>
                <a:gd name="T1" fmla="*/ 0 h 84"/>
                <a:gd name="T2" fmla="*/ 0 w 83"/>
                <a:gd name="T3" fmla="*/ 57 h 84"/>
                <a:gd name="T4" fmla="*/ 57 w 83"/>
                <a:gd name="T5" fmla="*/ 84 h 84"/>
                <a:gd name="T6" fmla="*/ 57 w 83"/>
                <a:gd name="T7" fmla="*/ 84 h 84"/>
                <a:gd name="T8" fmla="*/ 83 w 83"/>
                <a:gd name="T9" fmla="*/ 26 h 84"/>
                <a:gd name="T10" fmla="*/ 26 w 83"/>
                <a:gd name="T11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26" y="0"/>
                  </a:moveTo>
                  <a:lnTo>
                    <a:pt x="0" y="57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83" y="26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3D649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9"/>
            <p:cNvSpPr>
              <a:spLocks/>
            </p:cNvSpPr>
            <p:nvPr userDrawn="1"/>
          </p:nvSpPr>
          <p:spPr bwMode="auto">
            <a:xfrm>
              <a:off x="3194" y="1021"/>
              <a:ext cx="83" cy="84"/>
            </a:xfrm>
            <a:custGeom>
              <a:avLst/>
              <a:gdLst>
                <a:gd name="T0" fmla="*/ 26 w 83"/>
                <a:gd name="T1" fmla="*/ 0 h 84"/>
                <a:gd name="T2" fmla="*/ 0 w 83"/>
                <a:gd name="T3" fmla="*/ 57 h 84"/>
                <a:gd name="T4" fmla="*/ 57 w 83"/>
                <a:gd name="T5" fmla="*/ 84 h 84"/>
                <a:gd name="T6" fmla="*/ 57 w 83"/>
                <a:gd name="T7" fmla="*/ 84 h 84"/>
                <a:gd name="T8" fmla="*/ 83 w 83"/>
                <a:gd name="T9" fmla="*/ 26 h 84"/>
                <a:gd name="T10" fmla="*/ 26 w 83"/>
                <a:gd name="T11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26" y="0"/>
                  </a:moveTo>
                  <a:lnTo>
                    <a:pt x="0" y="57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83" y="26"/>
                  </a:lnTo>
                  <a:lnTo>
                    <a:pt x="2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1"/>
            <p:cNvSpPr>
              <a:spLocks/>
            </p:cNvSpPr>
            <p:nvPr userDrawn="1"/>
          </p:nvSpPr>
          <p:spPr bwMode="auto">
            <a:xfrm>
              <a:off x="2796" y="1709"/>
              <a:ext cx="43" cy="42"/>
            </a:xfrm>
            <a:custGeom>
              <a:avLst/>
              <a:gdLst>
                <a:gd name="T0" fmla="*/ 5 w 43"/>
                <a:gd name="T1" fmla="*/ 0 h 42"/>
                <a:gd name="T2" fmla="*/ 5 w 43"/>
                <a:gd name="T3" fmla="*/ 0 h 42"/>
                <a:gd name="T4" fmla="*/ 0 w 43"/>
                <a:gd name="T5" fmla="*/ 38 h 42"/>
                <a:gd name="T6" fmla="*/ 38 w 43"/>
                <a:gd name="T7" fmla="*/ 42 h 42"/>
                <a:gd name="T8" fmla="*/ 43 w 43"/>
                <a:gd name="T9" fmla="*/ 5 h 42"/>
                <a:gd name="T10" fmla="*/ 43 w 43"/>
                <a:gd name="T11" fmla="*/ 5 h 42"/>
                <a:gd name="T12" fmla="*/ 5 w 43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42">
                  <a:moveTo>
                    <a:pt x="5" y="0"/>
                  </a:moveTo>
                  <a:lnTo>
                    <a:pt x="5" y="0"/>
                  </a:lnTo>
                  <a:lnTo>
                    <a:pt x="0" y="38"/>
                  </a:lnTo>
                  <a:lnTo>
                    <a:pt x="38" y="42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5" y="0"/>
                  </a:lnTo>
                </a:path>
              </a:pathLst>
            </a:custGeom>
            <a:solidFill>
              <a:srgbClr val="14509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2"/>
            <p:cNvSpPr>
              <a:spLocks/>
            </p:cNvSpPr>
            <p:nvPr userDrawn="1"/>
          </p:nvSpPr>
          <p:spPr bwMode="auto">
            <a:xfrm>
              <a:off x="2363" y="293"/>
              <a:ext cx="86" cy="79"/>
            </a:xfrm>
            <a:custGeom>
              <a:avLst/>
              <a:gdLst>
                <a:gd name="T0" fmla="*/ 0 w 86"/>
                <a:gd name="T1" fmla="*/ 0 h 79"/>
                <a:gd name="T2" fmla="*/ 0 w 86"/>
                <a:gd name="T3" fmla="*/ 0 h 79"/>
                <a:gd name="T4" fmla="*/ 37 w 86"/>
                <a:gd name="T5" fmla="*/ 79 h 79"/>
                <a:gd name="T6" fmla="*/ 37 w 86"/>
                <a:gd name="T7" fmla="*/ 79 h 79"/>
                <a:gd name="T8" fmla="*/ 86 w 86"/>
                <a:gd name="T9" fmla="*/ 7 h 79"/>
                <a:gd name="T10" fmla="*/ 0 w 86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79">
                  <a:moveTo>
                    <a:pt x="0" y="0"/>
                  </a:moveTo>
                  <a:lnTo>
                    <a:pt x="0" y="0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86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D458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3"/>
            <p:cNvSpPr>
              <a:spLocks/>
            </p:cNvSpPr>
            <p:nvPr userDrawn="1"/>
          </p:nvSpPr>
          <p:spPr bwMode="auto">
            <a:xfrm>
              <a:off x="2363" y="293"/>
              <a:ext cx="86" cy="79"/>
            </a:xfrm>
            <a:custGeom>
              <a:avLst/>
              <a:gdLst>
                <a:gd name="T0" fmla="*/ 0 w 86"/>
                <a:gd name="T1" fmla="*/ 0 h 79"/>
                <a:gd name="T2" fmla="*/ 0 w 86"/>
                <a:gd name="T3" fmla="*/ 0 h 79"/>
                <a:gd name="T4" fmla="*/ 37 w 86"/>
                <a:gd name="T5" fmla="*/ 79 h 79"/>
                <a:gd name="T6" fmla="*/ 37 w 86"/>
                <a:gd name="T7" fmla="*/ 79 h 79"/>
                <a:gd name="T8" fmla="*/ 86 w 86"/>
                <a:gd name="T9" fmla="*/ 7 h 79"/>
                <a:gd name="T10" fmla="*/ 0 w 86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79">
                  <a:moveTo>
                    <a:pt x="0" y="0"/>
                  </a:moveTo>
                  <a:lnTo>
                    <a:pt x="0" y="0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86" y="7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4"/>
            <p:cNvSpPr>
              <a:spLocks/>
            </p:cNvSpPr>
            <p:nvPr userDrawn="1"/>
          </p:nvSpPr>
          <p:spPr bwMode="auto">
            <a:xfrm>
              <a:off x="2771" y="366"/>
              <a:ext cx="66" cy="62"/>
            </a:xfrm>
            <a:custGeom>
              <a:avLst/>
              <a:gdLst>
                <a:gd name="T0" fmla="*/ 48 w 90"/>
                <a:gd name="T1" fmla="*/ 0 h 84"/>
                <a:gd name="T2" fmla="*/ 30 w 90"/>
                <a:gd name="T3" fmla="*/ 4 h 84"/>
                <a:gd name="T4" fmla="*/ 10 w 90"/>
                <a:gd name="T5" fmla="*/ 60 h 84"/>
                <a:gd name="T6" fmla="*/ 48 w 90"/>
                <a:gd name="T7" fmla="*/ 84 h 84"/>
                <a:gd name="T8" fmla="*/ 49 w 90"/>
                <a:gd name="T9" fmla="*/ 84 h 84"/>
                <a:gd name="T10" fmla="*/ 66 w 90"/>
                <a:gd name="T11" fmla="*/ 80 h 84"/>
                <a:gd name="T12" fmla="*/ 90 w 90"/>
                <a:gd name="T13" fmla="*/ 43 h 84"/>
                <a:gd name="T14" fmla="*/ 90 w 90"/>
                <a:gd name="T15" fmla="*/ 41 h 84"/>
                <a:gd name="T16" fmla="*/ 86 w 90"/>
                <a:gd name="T17" fmla="*/ 24 h 84"/>
                <a:gd name="T18" fmla="*/ 48 w 90"/>
                <a:gd name="T1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4">
                  <a:moveTo>
                    <a:pt x="48" y="0"/>
                  </a:moveTo>
                  <a:cubicBezTo>
                    <a:pt x="42" y="0"/>
                    <a:pt x="36" y="1"/>
                    <a:pt x="30" y="4"/>
                  </a:cubicBezTo>
                  <a:cubicBezTo>
                    <a:pt x="9" y="14"/>
                    <a:pt x="0" y="39"/>
                    <a:pt x="10" y="60"/>
                  </a:cubicBezTo>
                  <a:cubicBezTo>
                    <a:pt x="17" y="75"/>
                    <a:pt x="32" y="84"/>
                    <a:pt x="48" y="84"/>
                  </a:cubicBezTo>
                  <a:cubicBezTo>
                    <a:pt x="49" y="84"/>
                    <a:pt x="49" y="84"/>
                    <a:pt x="49" y="84"/>
                  </a:cubicBezTo>
                  <a:cubicBezTo>
                    <a:pt x="55" y="84"/>
                    <a:pt x="61" y="83"/>
                    <a:pt x="66" y="80"/>
                  </a:cubicBezTo>
                  <a:cubicBezTo>
                    <a:pt x="81" y="73"/>
                    <a:pt x="90" y="59"/>
                    <a:pt x="90" y="43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90" y="35"/>
                    <a:pt x="89" y="30"/>
                    <a:pt x="86" y="24"/>
                  </a:cubicBezTo>
                  <a:cubicBezTo>
                    <a:pt x="79" y="9"/>
                    <a:pt x="64" y="0"/>
                    <a:pt x="48" y="0"/>
                  </a:cubicBezTo>
                </a:path>
              </a:pathLst>
            </a:custGeom>
            <a:solidFill>
              <a:srgbClr val="5988C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45"/>
            <p:cNvSpPr>
              <a:spLocks/>
            </p:cNvSpPr>
            <p:nvPr userDrawn="1"/>
          </p:nvSpPr>
          <p:spPr bwMode="auto">
            <a:xfrm>
              <a:off x="2585" y="539"/>
              <a:ext cx="41" cy="41"/>
            </a:xfrm>
            <a:custGeom>
              <a:avLst/>
              <a:gdLst>
                <a:gd name="T0" fmla="*/ 28 w 41"/>
                <a:gd name="T1" fmla="*/ 0 h 41"/>
                <a:gd name="T2" fmla="*/ 28 w 41"/>
                <a:gd name="T3" fmla="*/ 0 h 41"/>
                <a:gd name="T4" fmla="*/ 0 w 41"/>
                <a:gd name="T5" fmla="*/ 13 h 41"/>
                <a:gd name="T6" fmla="*/ 13 w 41"/>
                <a:gd name="T7" fmla="*/ 41 h 41"/>
                <a:gd name="T8" fmla="*/ 13 w 41"/>
                <a:gd name="T9" fmla="*/ 41 h 41"/>
                <a:gd name="T10" fmla="*/ 41 w 41"/>
                <a:gd name="T11" fmla="*/ 28 h 41"/>
                <a:gd name="T12" fmla="*/ 41 w 41"/>
                <a:gd name="T13" fmla="*/ 28 h 41"/>
                <a:gd name="T14" fmla="*/ 28 w 41"/>
                <a:gd name="T1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41">
                  <a:moveTo>
                    <a:pt x="28" y="0"/>
                  </a:moveTo>
                  <a:lnTo>
                    <a:pt x="28" y="0"/>
                  </a:lnTo>
                  <a:lnTo>
                    <a:pt x="0" y="13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4C60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6"/>
            <p:cNvSpPr>
              <a:spLocks/>
            </p:cNvSpPr>
            <p:nvPr userDrawn="1"/>
          </p:nvSpPr>
          <p:spPr bwMode="auto">
            <a:xfrm>
              <a:off x="2585" y="539"/>
              <a:ext cx="41" cy="41"/>
            </a:xfrm>
            <a:custGeom>
              <a:avLst/>
              <a:gdLst>
                <a:gd name="T0" fmla="*/ 28 w 41"/>
                <a:gd name="T1" fmla="*/ 0 h 41"/>
                <a:gd name="T2" fmla="*/ 28 w 41"/>
                <a:gd name="T3" fmla="*/ 0 h 41"/>
                <a:gd name="T4" fmla="*/ 0 w 41"/>
                <a:gd name="T5" fmla="*/ 13 h 41"/>
                <a:gd name="T6" fmla="*/ 13 w 41"/>
                <a:gd name="T7" fmla="*/ 41 h 41"/>
                <a:gd name="T8" fmla="*/ 13 w 41"/>
                <a:gd name="T9" fmla="*/ 41 h 41"/>
                <a:gd name="T10" fmla="*/ 41 w 41"/>
                <a:gd name="T11" fmla="*/ 28 h 41"/>
                <a:gd name="T12" fmla="*/ 41 w 41"/>
                <a:gd name="T13" fmla="*/ 28 h 41"/>
                <a:gd name="T14" fmla="*/ 28 w 41"/>
                <a:gd name="T1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41">
                  <a:moveTo>
                    <a:pt x="28" y="0"/>
                  </a:moveTo>
                  <a:lnTo>
                    <a:pt x="28" y="0"/>
                  </a:lnTo>
                  <a:lnTo>
                    <a:pt x="0" y="13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28" y="0"/>
                  </a:lnTo>
                </a:path>
              </a:pathLst>
            </a:custGeom>
            <a:solidFill>
              <a:srgbClr val="1A63B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7"/>
            <p:cNvSpPr>
              <a:spLocks/>
            </p:cNvSpPr>
            <p:nvPr userDrawn="1"/>
          </p:nvSpPr>
          <p:spPr bwMode="auto">
            <a:xfrm>
              <a:off x="2566" y="886"/>
              <a:ext cx="58" cy="59"/>
            </a:xfrm>
            <a:custGeom>
              <a:avLst/>
              <a:gdLst>
                <a:gd name="T0" fmla="*/ 27 w 58"/>
                <a:gd name="T1" fmla="*/ 0 h 59"/>
                <a:gd name="T2" fmla="*/ 27 w 58"/>
                <a:gd name="T3" fmla="*/ 0 h 59"/>
                <a:gd name="T4" fmla="*/ 0 w 58"/>
                <a:gd name="T5" fmla="*/ 31 h 59"/>
                <a:gd name="T6" fmla="*/ 30 w 58"/>
                <a:gd name="T7" fmla="*/ 59 h 59"/>
                <a:gd name="T8" fmla="*/ 58 w 58"/>
                <a:gd name="T9" fmla="*/ 27 h 59"/>
                <a:gd name="T10" fmla="*/ 27 w 58"/>
                <a:gd name="T1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59">
                  <a:moveTo>
                    <a:pt x="27" y="0"/>
                  </a:moveTo>
                  <a:lnTo>
                    <a:pt x="27" y="0"/>
                  </a:lnTo>
                  <a:lnTo>
                    <a:pt x="0" y="31"/>
                  </a:lnTo>
                  <a:lnTo>
                    <a:pt x="30" y="59"/>
                  </a:lnTo>
                  <a:lnTo>
                    <a:pt x="58" y="27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1E69B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48"/>
            <p:cNvSpPr>
              <a:spLocks/>
            </p:cNvSpPr>
            <p:nvPr userDrawn="1"/>
          </p:nvSpPr>
          <p:spPr bwMode="auto">
            <a:xfrm>
              <a:off x="2566" y="886"/>
              <a:ext cx="58" cy="59"/>
            </a:xfrm>
            <a:custGeom>
              <a:avLst/>
              <a:gdLst>
                <a:gd name="T0" fmla="*/ 27 w 58"/>
                <a:gd name="T1" fmla="*/ 0 h 59"/>
                <a:gd name="T2" fmla="*/ 27 w 58"/>
                <a:gd name="T3" fmla="*/ 0 h 59"/>
                <a:gd name="T4" fmla="*/ 0 w 58"/>
                <a:gd name="T5" fmla="*/ 31 h 59"/>
                <a:gd name="T6" fmla="*/ 30 w 58"/>
                <a:gd name="T7" fmla="*/ 59 h 59"/>
                <a:gd name="T8" fmla="*/ 58 w 58"/>
                <a:gd name="T9" fmla="*/ 27 h 59"/>
                <a:gd name="T10" fmla="*/ 27 w 58"/>
                <a:gd name="T1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59">
                  <a:moveTo>
                    <a:pt x="27" y="0"/>
                  </a:moveTo>
                  <a:lnTo>
                    <a:pt x="27" y="0"/>
                  </a:lnTo>
                  <a:lnTo>
                    <a:pt x="0" y="31"/>
                  </a:lnTo>
                  <a:lnTo>
                    <a:pt x="30" y="59"/>
                  </a:lnTo>
                  <a:lnTo>
                    <a:pt x="58" y="27"/>
                  </a:lnTo>
                  <a:lnTo>
                    <a:pt x="27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9"/>
            <p:cNvSpPr>
              <a:spLocks/>
            </p:cNvSpPr>
            <p:nvPr userDrawn="1"/>
          </p:nvSpPr>
          <p:spPr bwMode="auto">
            <a:xfrm>
              <a:off x="2948" y="769"/>
              <a:ext cx="53" cy="54"/>
            </a:xfrm>
            <a:custGeom>
              <a:avLst/>
              <a:gdLst>
                <a:gd name="T0" fmla="*/ 10 w 53"/>
                <a:gd name="T1" fmla="*/ 0 h 54"/>
                <a:gd name="T2" fmla="*/ 10 w 53"/>
                <a:gd name="T3" fmla="*/ 0 h 54"/>
                <a:gd name="T4" fmla="*/ 0 w 53"/>
                <a:gd name="T5" fmla="*/ 43 h 54"/>
                <a:gd name="T6" fmla="*/ 0 w 53"/>
                <a:gd name="T7" fmla="*/ 43 h 54"/>
                <a:gd name="T8" fmla="*/ 43 w 53"/>
                <a:gd name="T9" fmla="*/ 54 h 54"/>
                <a:gd name="T10" fmla="*/ 53 w 53"/>
                <a:gd name="T11" fmla="*/ 11 h 54"/>
                <a:gd name="T12" fmla="*/ 10 w 53"/>
                <a:gd name="T1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54">
                  <a:moveTo>
                    <a:pt x="10" y="0"/>
                  </a:moveTo>
                  <a:lnTo>
                    <a:pt x="10" y="0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43" y="54"/>
                  </a:lnTo>
                  <a:lnTo>
                    <a:pt x="53" y="11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15559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50"/>
            <p:cNvSpPr>
              <a:spLocks/>
            </p:cNvSpPr>
            <p:nvPr userDrawn="1"/>
          </p:nvSpPr>
          <p:spPr bwMode="auto">
            <a:xfrm>
              <a:off x="2948" y="769"/>
              <a:ext cx="53" cy="54"/>
            </a:xfrm>
            <a:custGeom>
              <a:avLst/>
              <a:gdLst>
                <a:gd name="T0" fmla="*/ 10 w 53"/>
                <a:gd name="T1" fmla="*/ 0 h 54"/>
                <a:gd name="T2" fmla="*/ 10 w 53"/>
                <a:gd name="T3" fmla="*/ 0 h 54"/>
                <a:gd name="T4" fmla="*/ 0 w 53"/>
                <a:gd name="T5" fmla="*/ 43 h 54"/>
                <a:gd name="T6" fmla="*/ 0 w 53"/>
                <a:gd name="T7" fmla="*/ 43 h 54"/>
                <a:gd name="T8" fmla="*/ 43 w 53"/>
                <a:gd name="T9" fmla="*/ 54 h 54"/>
                <a:gd name="T10" fmla="*/ 53 w 53"/>
                <a:gd name="T11" fmla="*/ 11 h 54"/>
                <a:gd name="T12" fmla="*/ 10 w 53"/>
                <a:gd name="T1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54">
                  <a:moveTo>
                    <a:pt x="10" y="0"/>
                  </a:moveTo>
                  <a:lnTo>
                    <a:pt x="10" y="0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43" y="54"/>
                  </a:lnTo>
                  <a:lnTo>
                    <a:pt x="53" y="11"/>
                  </a:lnTo>
                  <a:lnTo>
                    <a:pt x="1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51"/>
            <p:cNvSpPr>
              <a:spLocks noEditPoints="1"/>
            </p:cNvSpPr>
            <p:nvPr userDrawn="1"/>
          </p:nvSpPr>
          <p:spPr bwMode="auto">
            <a:xfrm>
              <a:off x="3034" y="648"/>
              <a:ext cx="109" cy="101"/>
            </a:xfrm>
            <a:custGeom>
              <a:avLst/>
              <a:gdLst>
                <a:gd name="T0" fmla="*/ 92 w 147"/>
                <a:gd name="T1" fmla="*/ 102 h 137"/>
                <a:gd name="T2" fmla="*/ 90 w 147"/>
                <a:gd name="T3" fmla="*/ 94 h 137"/>
                <a:gd name="T4" fmla="*/ 100 w 147"/>
                <a:gd name="T5" fmla="*/ 88 h 137"/>
                <a:gd name="T6" fmla="*/ 104 w 147"/>
                <a:gd name="T7" fmla="*/ 110 h 137"/>
                <a:gd name="T8" fmla="*/ 66 w 147"/>
                <a:gd name="T9" fmla="*/ 115 h 137"/>
                <a:gd name="T10" fmla="*/ 44 w 147"/>
                <a:gd name="T11" fmla="*/ 79 h 137"/>
                <a:gd name="T12" fmla="*/ 56 w 147"/>
                <a:gd name="T13" fmla="*/ 81 h 137"/>
                <a:gd name="T14" fmla="*/ 77 w 147"/>
                <a:gd name="T15" fmla="*/ 97 h 137"/>
                <a:gd name="T16" fmla="*/ 84 w 147"/>
                <a:gd name="T17" fmla="*/ 107 h 137"/>
                <a:gd name="T18" fmla="*/ 101 w 147"/>
                <a:gd name="T19" fmla="*/ 112 h 137"/>
                <a:gd name="T20" fmla="*/ 79 w 147"/>
                <a:gd name="T21" fmla="*/ 93 h 137"/>
                <a:gd name="T22" fmla="*/ 54 w 147"/>
                <a:gd name="T23" fmla="*/ 74 h 137"/>
                <a:gd name="T24" fmla="*/ 77 w 147"/>
                <a:gd name="T25" fmla="*/ 76 h 137"/>
                <a:gd name="T26" fmla="*/ 85 w 147"/>
                <a:gd name="T27" fmla="*/ 74 h 137"/>
                <a:gd name="T28" fmla="*/ 92 w 147"/>
                <a:gd name="T29" fmla="*/ 86 h 137"/>
                <a:gd name="T30" fmla="*/ 86 w 147"/>
                <a:gd name="T31" fmla="*/ 92 h 137"/>
                <a:gd name="T32" fmla="*/ 79 w 147"/>
                <a:gd name="T33" fmla="*/ 93 h 137"/>
                <a:gd name="T34" fmla="*/ 86 w 147"/>
                <a:gd name="T35" fmla="*/ 70 h 137"/>
                <a:gd name="T36" fmla="*/ 93 w 147"/>
                <a:gd name="T37" fmla="*/ 58 h 137"/>
                <a:gd name="T38" fmla="*/ 97 w 147"/>
                <a:gd name="T39" fmla="*/ 59 h 137"/>
                <a:gd name="T40" fmla="*/ 93 w 147"/>
                <a:gd name="T41" fmla="*/ 73 h 137"/>
                <a:gd name="T42" fmla="*/ 52 w 147"/>
                <a:gd name="T43" fmla="*/ 69 h 137"/>
                <a:gd name="T44" fmla="*/ 63 w 147"/>
                <a:gd name="T45" fmla="*/ 46 h 137"/>
                <a:gd name="T46" fmla="*/ 75 w 147"/>
                <a:gd name="T47" fmla="*/ 44 h 137"/>
                <a:gd name="T48" fmla="*/ 91 w 147"/>
                <a:gd name="T49" fmla="*/ 55 h 137"/>
                <a:gd name="T50" fmla="*/ 81 w 147"/>
                <a:gd name="T51" fmla="*/ 61 h 137"/>
                <a:gd name="T52" fmla="*/ 71 w 147"/>
                <a:gd name="T53" fmla="*/ 67 h 137"/>
                <a:gd name="T54" fmla="*/ 53 w 147"/>
                <a:gd name="T55" fmla="*/ 71 h 137"/>
                <a:gd name="T56" fmla="*/ 100 w 147"/>
                <a:gd name="T57" fmla="*/ 59 h 137"/>
                <a:gd name="T58" fmla="*/ 104 w 147"/>
                <a:gd name="T59" fmla="*/ 44 h 137"/>
                <a:gd name="T60" fmla="*/ 125 w 147"/>
                <a:gd name="T61" fmla="*/ 81 h 137"/>
                <a:gd name="T62" fmla="*/ 104 w 147"/>
                <a:gd name="T63" fmla="*/ 87 h 137"/>
                <a:gd name="T64" fmla="*/ 106 w 147"/>
                <a:gd name="T65" fmla="*/ 72 h 137"/>
                <a:gd name="T66" fmla="*/ 91 w 147"/>
                <a:gd name="T67" fmla="*/ 46 h 137"/>
                <a:gd name="T68" fmla="*/ 75 w 147"/>
                <a:gd name="T69" fmla="*/ 35 h 137"/>
                <a:gd name="T70" fmla="*/ 108 w 147"/>
                <a:gd name="T71" fmla="*/ 31 h 137"/>
                <a:gd name="T72" fmla="*/ 101 w 147"/>
                <a:gd name="T73" fmla="*/ 42 h 137"/>
                <a:gd name="T74" fmla="*/ 91 w 147"/>
                <a:gd name="T75" fmla="*/ 46 h 137"/>
                <a:gd name="T76" fmla="*/ 32 w 147"/>
                <a:gd name="T77" fmla="*/ 56 h 137"/>
                <a:gd name="T78" fmla="*/ 59 w 147"/>
                <a:gd name="T79" fmla="*/ 30 h 137"/>
                <a:gd name="T80" fmla="*/ 59 w 147"/>
                <a:gd name="T81" fmla="*/ 46 h 137"/>
                <a:gd name="T82" fmla="*/ 51 w 147"/>
                <a:gd name="T83" fmla="*/ 65 h 137"/>
                <a:gd name="T84" fmla="*/ 38 w 147"/>
                <a:gd name="T85" fmla="*/ 78 h 137"/>
                <a:gd name="T86" fmla="*/ 34 w 147"/>
                <a:gd name="T87" fmla="*/ 86 h 137"/>
                <a:gd name="T88" fmla="*/ 60 w 147"/>
                <a:gd name="T89" fmla="*/ 24 h 137"/>
                <a:gd name="T90" fmla="*/ 91 w 147"/>
                <a:gd name="T91" fmla="*/ 22 h 137"/>
                <a:gd name="T92" fmla="*/ 74 w 147"/>
                <a:gd name="T93" fmla="*/ 31 h 137"/>
                <a:gd name="T94" fmla="*/ 63 w 147"/>
                <a:gd name="T95" fmla="*/ 29 h 137"/>
                <a:gd name="T96" fmla="*/ 16 w 147"/>
                <a:gd name="T97" fmla="*/ 39 h 137"/>
                <a:gd name="T98" fmla="*/ 77 w 147"/>
                <a:gd name="T99" fmla="*/ 137 h 137"/>
                <a:gd name="T100" fmla="*/ 140 w 147"/>
                <a:gd name="T101" fmla="*/ 98 h 137"/>
                <a:gd name="T102" fmla="*/ 147 w 147"/>
                <a:gd name="T103" fmla="*/ 68 h 137"/>
                <a:gd name="T104" fmla="*/ 78 w 147"/>
                <a:gd name="T105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7" h="137">
                  <a:moveTo>
                    <a:pt x="104" y="110"/>
                  </a:moveTo>
                  <a:cubicBezTo>
                    <a:pt x="92" y="102"/>
                    <a:pt x="92" y="102"/>
                    <a:pt x="92" y="102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93" y="99"/>
                    <a:pt x="92" y="96"/>
                    <a:pt x="90" y="94"/>
                  </a:cubicBezTo>
                  <a:cubicBezTo>
                    <a:pt x="95" y="88"/>
                    <a:pt x="95" y="88"/>
                    <a:pt x="95" y="88"/>
                  </a:cubicBezTo>
                  <a:cubicBezTo>
                    <a:pt x="100" y="88"/>
                    <a:pt x="100" y="88"/>
                    <a:pt x="100" y="88"/>
                  </a:cubicBezTo>
                  <a:cubicBezTo>
                    <a:pt x="108" y="107"/>
                    <a:pt x="108" y="107"/>
                    <a:pt x="108" y="107"/>
                  </a:cubicBezTo>
                  <a:cubicBezTo>
                    <a:pt x="107" y="108"/>
                    <a:pt x="105" y="109"/>
                    <a:pt x="104" y="110"/>
                  </a:cubicBezTo>
                  <a:moveTo>
                    <a:pt x="79" y="117"/>
                  </a:moveTo>
                  <a:cubicBezTo>
                    <a:pt x="75" y="117"/>
                    <a:pt x="70" y="116"/>
                    <a:pt x="66" y="115"/>
                  </a:cubicBezTo>
                  <a:cubicBezTo>
                    <a:pt x="52" y="111"/>
                    <a:pt x="41" y="101"/>
                    <a:pt x="35" y="89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56" y="82"/>
                    <a:pt x="56" y="82"/>
                    <a:pt x="56" y="82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77" y="96"/>
                    <a:pt x="77" y="96"/>
                    <a:pt x="77" y="96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6" y="101"/>
                    <a:pt x="78" y="106"/>
                    <a:pt x="82" y="107"/>
                  </a:cubicBezTo>
                  <a:cubicBezTo>
                    <a:pt x="83" y="107"/>
                    <a:pt x="84" y="107"/>
                    <a:pt x="84" y="107"/>
                  </a:cubicBezTo>
                  <a:cubicBezTo>
                    <a:pt x="87" y="107"/>
                    <a:pt x="89" y="106"/>
                    <a:pt x="90" y="105"/>
                  </a:cubicBezTo>
                  <a:cubicBezTo>
                    <a:pt x="101" y="112"/>
                    <a:pt x="101" y="112"/>
                    <a:pt x="101" y="112"/>
                  </a:cubicBezTo>
                  <a:cubicBezTo>
                    <a:pt x="94" y="115"/>
                    <a:pt x="86" y="117"/>
                    <a:pt x="79" y="117"/>
                  </a:cubicBezTo>
                  <a:moveTo>
                    <a:pt x="79" y="93"/>
                  </a:moveTo>
                  <a:cubicBezTo>
                    <a:pt x="54" y="75"/>
                    <a:pt x="54" y="75"/>
                    <a:pt x="54" y="75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71" y="71"/>
                    <a:pt x="71" y="71"/>
                    <a:pt x="71" y="71"/>
                  </a:cubicBezTo>
                  <a:cubicBezTo>
                    <a:pt x="72" y="74"/>
                    <a:pt x="74" y="76"/>
                    <a:pt x="77" y="76"/>
                  </a:cubicBezTo>
                  <a:cubicBezTo>
                    <a:pt x="77" y="76"/>
                    <a:pt x="78" y="76"/>
                    <a:pt x="79" y="76"/>
                  </a:cubicBezTo>
                  <a:cubicBezTo>
                    <a:pt x="81" y="76"/>
                    <a:pt x="83" y="75"/>
                    <a:pt x="85" y="74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92" y="86"/>
                    <a:pt x="92" y="86"/>
                    <a:pt x="92" y="86"/>
                  </a:cubicBezTo>
                  <a:cubicBezTo>
                    <a:pt x="88" y="92"/>
                    <a:pt x="88" y="92"/>
                    <a:pt x="88" y="92"/>
                  </a:cubicBezTo>
                  <a:cubicBezTo>
                    <a:pt x="87" y="92"/>
                    <a:pt x="87" y="92"/>
                    <a:pt x="86" y="92"/>
                  </a:cubicBezTo>
                  <a:cubicBezTo>
                    <a:pt x="86" y="92"/>
                    <a:pt x="85" y="92"/>
                    <a:pt x="84" y="92"/>
                  </a:cubicBezTo>
                  <a:cubicBezTo>
                    <a:pt x="83" y="92"/>
                    <a:pt x="81" y="92"/>
                    <a:pt x="79" y="93"/>
                  </a:cubicBezTo>
                  <a:moveTo>
                    <a:pt x="93" y="73"/>
                  </a:moveTo>
                  <a:cubicBezTo>
                    <a:pt x="86" y="70"/>
                    <a:pt x="86" y="70"/>
                    <a:pt x="86" y="70"/>
                  </a:cubicBezTo>
                  <a:cubicBezTo>
                    <a:pt x="87" y="68"/>
                    <a:pt x="86" y="66"/>
                    <a:pt x="85" y="65"/>
                  </a:cubicBezTo>
                  <a:cubicBezTo>
                    <a:pt x="93" y="58"/>
                    <a:pt x="93" y="58"/>
                    <a:pt x="93" y="58"/>
                  </a:cubicBezTo>
                  <a:cubicBezTo>
                    <a:pt x="94" y="58"/>
                    <a:pt x="95" y="59"/>
                    <a:pt x="96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73"/>
                    <a:pt x="97" y="73"/>
                    <a:pt x="97" y="73"/>
                  </a:cubicBezTo>
                  <a:cubicBezTo>
                    <a:pt x="93" y="73"/>
                    <a:pt x="93" y="73"/>
                    <a:pt x="93" y="73"/>
                  </a:cubicBezTo>
                  <a:moveTo>
                    <a:pt x="53" y="71"/>
                  </a:moveTo>
                  <a:cubicBezTo>
                    <a:pt x="52" y="69"/>
                    <a:pt x="52" y="69"/>
                    <a:pt x="52" y="69"/>
                  </a:cubicBezTo>
                  <a:cubicBezTo>
                    <a:pt x="53" y="69"/>
                    <a:pt x="53" y="69"/>
                    <a:pt x="53" y="68"/>
                  </a:cubicBezTo>
                  <a:cubicBezTo>
                    <a:pt x="63" y="46"/>
                    <a:pt x="63" y="46"/>
                    <a:pt x="63" y="4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89" y="51"/>
                    <a:pt x="90" y="53"/>
                    <a:pt x="91" y="55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2" y="62"/>
                    <a:pt x="82" y="62"/>
                    <a:pt x="81" y="61"/>
                  </a:cubicBezTo>
                  <a:cubicBezTo>
                    <a:pt x="80" y="61"/>
                    <a:pt x="79" y="61"/>
                    <a:pt x="79" y="61"/>
                  </a:cubicBezTo>
                  <a:cubicBezTo>
                    <a:pt x="75" y="61"/>
                    <a:pt x="72" y="63"/>
                    <a:pt x="71" y="67"/>
                  </a:cubicBezTo>
                  <a:cubicBezTo>
                    <a:pt x="71" y="67"/>
                    <a:pt x="71" y="67"/>
                    <a:pt x="71" y="68"/>
                  </a:cubicBezTo>
                  <a:cubicBezTo>
                    <a:pt x="53" y="71"/>
                    <a:pt x="53" y="71"/>
                    <a:pt x="53" y="71"/>
                  </a:cubicBezTo>
                  <a:moveTo>
                    <a:pt x="100" y="73"/>
                  </a:moveTo>
                  <a:cubicBezTo>
                    <a:pt x="100" y="59"/>
                    <a:pt x="100" y="59"/>
                    <a:pt x="100" y="59"/>
                  </a:cubicBezTo>
                  <a:cubicBezTo>
                    <a:pt x="103" y="58"/>
                    <a:pt x="106" y="56"/>
                    <a:pt x="107" y="53"/>
                  </a:cubicBezTo>
                  <a:cubicBezTo>
                    <a:pt x="108" y="50"/>
                    <a:pt x="107" y="46"/>
                    <a:pt x="104" y="44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24" y="45"/>
                    <a:pt x="130" y="63"/>
                    <a:pt x="125" y="81"/>
                  </a:cubicBezTo>
                  <a:cubicBezTo>
                    <a:pt x="123" y="91"/>
                    <a:pt x="118" y="99"/>
                    <a:pt x="111" y="105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07" y="87"/>
                    <a:pt x="107" y="87"/>
                    <a:pt x="107" y="87"/>
                  </a:cubicBezTo>
                  <a:cubicBezTo>
                    <a:pt x="106" y="72"/>
                    <a:pt x="106" y="72"/>
                    <a:pt x="106" y="72"/>
                  </a:cubicBezTo>
                  <a:cubicBezTo>
                    <a:pt x="100" y="73"/>
                    <a:pt x="100" y="73"/>
                    <a:pt x="100" y="73"/>
                  </a:cubicBezTo>
                  <a:moveTo>
                    <a:pt x="91" y="46"/>
                  </a:moveTo>
                  <a:cubicBezTo>
                    <a:pt x="75" y="40"/>
                    <a:pt x="75" y="40"/>
                    <a:pt x="75" y="40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6" y="29"/>
                    <a:pt x="107" y="30"/>
                    <a:pt x="108" y="31"/>
                  </a:cubicBezTo>
                  <a:cubicBezTo>
                    <a:pt x="101" y="42"/>
                    <a:pt x="101" y="42"/>
                    <a:pt x="101" y="42"/>
                  </a:cubicBezTo>
                  <a:cubicBezTo>
                    <a:pt x="101" y="42"/>
                    <a:pt x="101" y="42"/>
                    <a:pt x="101" y="42"/>
                  </a:cubicBezTo>
                  <a:cubicBezTo>
                    <a:pt x="100" y="42"/>
                    <a:pt x="99" y="42"/>
                    <a:pt x="98" y="42"/>
                  </a:cubicBezTo>
                  <a:cubicBezTo>
                    <a:pt x="95" y="42"/>
                    <a:pt x="92" y="44"/>
                    <a:pt x="91" y="46"/>
                  </a:cubicBezTo>
                  <a:moveTo>
                    <a:pt x="34" y="86"/>
                  </a:moveTo>
                  <a:cubicBezTo>
                    <a:pt x="30" y="76"/>
                    <a:pt x="29" y="66"/>
                    <a:pt x="32" y="56"/>
                  </a:cubicBezTo>
                  <a:cubicBezTo>
                    <a:pt x="36" y="42"/>
                    <a:pt x="45" y="32"/>
                    <a:pt x="57" y="26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1" y="65"/>
                    <a:pt x="51" y="65"/>
                    <a:pt x="51" y="65"/>
                  </a:cubicBezTo>
                  <a:cubicBezTo>
                    <a:pt x="51" y="64"/>
                    <a:pt x="51" y="64"/>
                    <a:pt x="51" y="64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34" y="86"/>
                    <a:pt x="34" y="86"/>
                    <a:pt x="34" y="86"/>
                  </a:cubicBezTo>
                  <a:moveTo>
                    <a:pt x="63" y="29"/>
                  </a:moveTo>
                  <a:cubicBezTo>
                    <a:pt x="60" y="24"/>
                    <a:pt x="60" y="24"/>
                    <a:pt x="60" y="24"/>
                  </a:cubicBezTo>
                  <a:cubicBezTo>
                    <a:pt x="66" y="22"/>
                    <a:pt x="72" y="21"/>
                    <a:pt x="79" y="21"/>
                  </a:cubicBezTo>
                  <a:cubicBezTo>
                    <a:pt x="83" y="21"/>
                    <a:pt x="87" y="21"/>
                    <a:pt x="91" y="22"/>
                  </a:cubicBezTo>
                  <a:cubicBezTo>
                    <a:pt x="94" y="23"/>
                    <a:pt x="97" y="24"/>
                    <a:pt x="100" y="26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63" y="29"/>
                    <a:pt x="63" y="29"/>
                    <a:pt x="63" y="29"/>
                  </a:cubicBezTo>
                  <a:moveTo>
                    <a:pt x="78" y="0"/>
                  </a:moveTo>
                  <a:cubicBezTo>
                    <a:pt x="52" y="0"/>
                    <a:pt x="28" y="14"/>
                    <a:pt x="16" y="39"/>
                  </a:cubicBezTo>
                  <a:cubicBezTo>
                    <a:pt x="0" y="74"/>
                    <a:pt x="15" y="115"/>
                    <a:pt x="49" y="131"/>
                  </a:cubicBezTo>
                  <a:cubicBezTo>
                    <a:pt x="58" y="135"/>
                    <a:pt x="67" y="137"/>
                    <a:pt x="77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105" y="137"/>
                    <a:pt x="129" y="122"/>
                    <a:pt x="140" y="98"/>
                  </a:cubicBezTo>
                  <a:cubicBezTo>
                    <a:pt x="145" y="89"/>
                    <a:pt x="147" y="79"/>
                    <a:pt x="147" y="70"/>
                  </a:cubicBezTo>
                  <a:cubicBezTo>
                    <a:pt x="147" y="68"/>
                    <a:pt x="147" y="68"/>
                    <a:pt x="147" y="68"/>
                  </a:cubicBezTo>
                  <a:cubicBezTo>
                    <a:pt x="147" y="42"/>
                    <a:pt x="132" y="18"/>
                    <a:pt x="108" y="6"/>
                  </a:cubicBezTo>
                  <a:cubicBezTo>
                    <a:pt x="98" y="2"/>
                    <a:pt x="88" y="0"/>
                    <a:pt x="78" y="0"/>
                  </a:cubicBezTo>
                </a:path>
              </a:pathLst>
            </a:custGeom>
            <a:solidFill>
              <a:srgbClr val="84A2C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2"/>
            <p:cNvSpPr>
              <a:spLocks/>
            </p:cNvSpPr>
            <p:nvPr userDrawn="1"/>
          </p:nvSpPr>
          <p:spPr bwMode="auto">
            <a:xfrm>
              <a:off x="3484" y="638"/>
              <a:ext cx="17" cy="16"/>
            </a:xfrm>
            <a:custGeom>
              <a:avLst/>
              <a:gdLst>
                <a:gd name="T0" fmla="*/ 15 w 17"/>
                <a:gd name="T1" fmla="*/ 0 h 16"/>
                <a:gd name="T2" fmla="*/ 0 w 17"/>
                <a:gd name="T3" fmla="*/ 3 h 16"/>
                <a:gd name="T4" fmla="*/ 3 w 17"/>
                <a:gd name="T5" fmla="*/ 16 h 16"/>
                <a:gd name="T6" fmla="*/ 17 w 17"/>
                <a:gd name="T7" fmla="*/ 14 h 16"/>
                <a:gd name="T8" fmla="*/ 15 w 1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6">
                  <a:moveTo>
                    <a:pt x="15" y="0"/>
                  </a:moveTo>
                  <a:lnTo>
                    <a:pt x="0" y="3"/>
                  </a:lnTo>
                  <a:lnTo>
                    <a:pt x="3" y="16"/>
                  </a:lnTo>
                  <a:lnTo>
                    <a:pt x="17" y="14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455A8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3"/>
            <p:cNvSpPr>
              <a:spLocks/>
            </p:cNvSpPr>
            <p:nvPr userDrawn="1"/>
          </p:nvSpPr>
          <p:spPr bwMode="auto">
            <a:xfrm>
              <a:off x="3484" y="638"/>
              <a:ext cx="17" cy="16"/>
            </a:xfrm>
            <a:custGeom>
              <a:avLst/>
              <a:gdLst>
                <a:gd name="T0" fmla="*/ 15 w 17"/>
                <a:gd name="T1" fmla="*/ 0 h 16"/>
                <a:gd name="T2" fmla="*/ 0 w 17"/>
                <a:gd name="T3" fmla="*/ 3 h 16"/>
                <a:gd name="T4" fmla="*/ 3 w 17"/>
                <a:gd name="T5" fmla="*/ 16 h 16"/>
                <a:gd name="T6" fmla="*/ 17 w 17"/>
                <a:gd name="T7" fmla="*/ 14 h 16"/>
                <a:gd name="T8" fmla="*/ 15 w 1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6">
                  <a:moveTo>
                    <a:pt x="15" y="0"/>
                  </a:moveTo>
                  <a:lnTo>
                    <a:pt x="0" y="3"/>
                  </a:lnTo>
                  <a:lnTo>
                    <a:pt x="3" y="16"/>
                  </a:lnTo>
                  <a:lnTo>
                    <a:pt x="17" y="14"/>
                  </a:lnTo>
                  <a:lnTo>
                    <a:pt x="15" y="0"/>
                  </a:lnTo>
                </a:path>
              </a:pathLst>
            </a:custGeom>
            <a:solidFill>
              <a:srgbClr val="1C64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191" name="Freeform 54"/>
            <p:cNvSpPr>
              <a:spLocks/>
            </p:cNvSpPr>
            <p:nvPr userDrawn="1"/>
          </p:nvSpPr>
          <p:spPr bwMode="auto">
            <a:xfrm>
              <a:off x="3515" y="667"/>
              <a:ext cx="8" cy="10"/>
            </a:xfrm>
            <a:custGeom>
              <a:avLst/>
              <a:gdLst>
                <a:gd name="T0" fmla="*/ 7 w 8"/>
                <a:gd name="T1" fmla="*/ 0 h 10"/>
                <a:gd name="T2" fmla="*/ 0 w 8"/>
                <a:gd name="T3" fmla="*/ 6 h 10"/>
                <a:gd name="T4" fmla="*/ 8 w 8"/>
                <a:gd name="T5" fmla="*/ 10 h 10"/>
                <a:gd name="T6" fmla="*/ 7 w 8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0">
                  <a:moveTo>
                    <a:pt x="7" y="0"/>
                  </a:moveTo>
                  <a:lnTo>
                    <a:pt x="0" y="6"/>
                  </a:lnTo>
                  <a:lnTo>
                    <a:pt x="8" y="1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455A8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5"/>
            <p:cNvSpPr>
              <a:spLocks/>
            </p:cNvSpPr>
            <p:nvPr userDrawn="1"/>
          </p:nvSpPr>
          <p:spPr bwMode="auto">
            <a:xfrm>
              <a:off x="3515" y="667"/>
              <a:ext cx="8" cy="10"/>
            </a:xfrm>
            <a:custGeom>
              <a:avLst/>
              <a:gdLst>
                <a:gd name="T0" fmla="*/ 7 w 8"/>
                <a:gd name="T1" fmla="*/ 0 h 10"/>
                <a:gd name="T2" fmla="*/ 0 w 8"/>
                <a:gd name="T3" fmla="*/ 6 h 10"/>
                <a:gd name="T4" fmla="*/ 8 w 8"/>
                <a:gd name="T5" fmla="*/ 10 h 10"/>
                <a:gd name="T6" fmla="*/ 7 w 8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0">
                  <a:moveTo>
                    <a:pt x="7" y="0"/>
                  </a:moveTo>
                  <a:lnTo>
                    <a:pt x="0" y="6"/>
                  </a:lnTo>
                  <a:lnTo>
                    <a:pt x="8" y="10"/>
                  </a:lnTo>
                  <a:lnTo>
                    <a:pt x="7" y="0"/>
                  </a:lnTo>
                </a:path>
              </a:pathLst>
            </a:custGeom>
            <a:solidFill>
              <a:srgbClr val="1C64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193" name="Freeform 56"/>
            <p:cNvSpPr>
              <a:spLocks noEditPoints="1"/>
            </p:cNvSpPr>
            <p:nvPr userDrawn="1"/>
          </p:nvSpPr>
          <p:spPr bwMode="auto">
            <a:xfrm>
              <a:off x="3442" y="583"/>
              <a:ext cx="129" cy="127"/>
            </a:xfrm>
            <a:custGeom>
              <a:avLst/>
              <a:gdLst>
                <a:gd name="T0" fmla="*/ 110 w 175"/>
                <a:gd name="T1" fmla="*/ 101 h 171"/>
                <a:gd name="T2" fmla="*/ 117 w 175"/>
                <a:gd name="T3" fmla="*/ 108 h 171"/>
                <a:gd name="T4" fmla="*/ 121 w 175"/>
                <a:gd name="T5" fmla="*/ 110 h 171"/>
                <a:gd name="T6" fmla="*/ 124 w 175"/>
                <a:gd name="T7" fmla="*/ 120 h 171"/>
                <a:gd name="T8" fmla="*/ 122 w 175"/>
                <a:gd name="T9" fmla="*/ 126 h 171"/>
                <a:gd name="T10" fmla="*/ 117 w 175"/>
                <a:gd name="T11" fmla="*/ 129 h 171"/>
                <a:gd name="T12" fmla="*/ 111 w 175"/>
                <a:gd name="T13" fmla="*/ 135 h 171"/>
                <a:gd name="T14" fmla="*/ 103 w 175"/>
                <a:gd name="T15" fmla="*/ 135 h 171"/>
                <a:gd name="T16" fmla="*/ 96 w 175"/>
                <a:gd name="T17" fmla="*/ 129 h 171"/>
                <a:gd name="T18" fmla="*/ 92 w 175"/>
                <a:gd name="T19" fmla="*/ 127 h 171"/>
                <a:gd name="T20" fmla="*/ 89 w 175"/>
                <a:gd name="T21" fmla="*/ 116 h 171"/>
                <a:gd name="T22" fmla="*/ 91 w 175"/>
                <a:gd name="T23" fmla="*/ 110 h 171"/>
                <a:gd name="T24" fmla="*/ 96 w 175"/>
                <a:gd name="T25" fmla="*/ 108 h 171"/>
                <a:gd name="T26" fmla="*/ 103 w 175"/>
                <a:gd name="T27" fmla="*/ 102 h 171"/>
                <a:gd name="T28" fmla="*/ 65 w 175"/>
                <a:gd name="T29" fmla="*/ 59 h 171"/>
                <a:gd name="T30" fmla="*/ 79 w 175"/>
                <a:gd name="T31" fmla="*/ 54 h 171"/>
                <a:gd name="T32" fmla="*/ 90 w 175"/>
                <a:gd name="T33" fmla="*/ 61 h 171"/>
                <a:gd name="T34" fmla="*/ 100 w 175"/>
                <a:gd name="T35" fmla="*/ 78 h 171"/>
                <a:gd name="T36" fmla="*/ 101 w 175"/>
                <a:gd name="T37" fmla="*/ 85 h 171"/>
                <a:gd name="T38" fmla="*/ 96 w 175"/>
                <a:gd name="T39" fmla="*/ 103 h 171"/>
                <a:gd name="T40" fmla="*/ 86 w 175"/>
                <a:gd name="T41" fmla="*/ 112 h 171"/>
                <a:gd name="T42" fmla="*/ 73 w 175"/>
                <a:gd name="T43" fmla="*/ 111 h 171"/>
                <a:gd name="T44" fmla="*/ 59 w 175"/>
                <a:gd name="T45" fmla="*/ 116 h 171"/>
                <a:gd name="T46" fmla="*/ 48 w 175"/>
                <a:gd name="T47" fmla="*/ 109 h 171"/>
                <a:gd name="T48" fmla="*/ 38 w 175"/>
                <a:gd name="T49" fmla="*/ 92 h 171"/>
                <a:gd name="T50" fmla="*/ 37 w 175"/>
                <a:gd name="T51" fmla="*/ 85 h 171"/>
                <a:gd name="T52" fmla="*/ 39 w 175"/>
                <a:gd name="T53" fmla="*/ 73 h 171"/>
                <a:gd name="T54" fmla="*/ 47 w 175"/>
                <a:gd name="T55" fmla="*/ 68 h 171"/>
                <a:gd name="T56" fmla="*/ 58 w 175"/>
                <a:gd name="T57" fmla="*/ 55 h 171"/>
                <a:gd name="T58" fmla="*/ 54 w 175"/>
                <a:gd name="T59" fmla="*/ 0 h 171"/>
                <a:gd name="T60" fmla="*/ 0 w 175"/>
                <a:gd name="T61" fmla="*/ 171 h 171"/>
                <a:gd name="T62" fmla="*/ 175 w 175"/>
                <a:gd name="T63" fmla="*/ 132 h 171"/>
                <a:gd name="T64" fmla="*/ 54 w 175"/>
                <a:gd name="T65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5" h="171">
                  <a:moveTo>
                    <a:pt x="106" y="104"/>
                  </a:moveTo>
                  <a:cubicBezTo>
                    <a:pt x="108" y="104"/>
                    <a:pt x="109" y="103"/>
                    <a:pt x="110" y="101"/>
                  </a:cubicBezTo>
                  <a:cubicBezTo>
                    <a:pt x="111" y="102"/>
                    <a:pt x="112" y="102"/>
                    <a:pt x="114" y="103"/>
                  </a:cubicBezTo>
                  <a:cubicBezTo>
                    <a:pt x="113" y="105"/>
                    <a:pt x="115" y="108"/>
                    <a:pt x="117" y="108"/>
                  </a:cubicBezTo>
                  <a:cubicBezTo>
                    <a:pt x="118" y="108"/>
                    <a:pt x="119" y="107"/>
                    <a:pt x="119" y="107"/>
                  </a:cubicBezTo>
                  <a:cubicBezTo>
                    <a:pt x="120" y="108"/>
                    <a:pt x="121" y="109"/>
                    <a:pt x="121" y="110"/>
                  </a:cubicBezTo>
                  <a:cubicBezTo>
                    <a:pt x="119" y="112"/>
                    <a:pt x="119" y="116"/>
                    <a:pt x="124" y="116"/>
                  </a:cubicBezTo>
                  <a:cubicBezTo>
                    <a:pt x="124" y="118"/>
                    <a:pt x="124" y="119"/>
                    <a:pt x="124" y="120"/>
                  </a:cubicBezTo>
                  <a:cubicBezTo>
                    <a:pt x="124" y="120"/>
                    <a:pt x="123" y="120"/>
                    <a:pt x="123" y="120"/>
                  </a:cubicBezTo>
                  <a:cubicBezTo>
                    <a:pt x="120" y="120"/>
                    <a:pt x="119" y="125"/>
                    <a:pt x="122" y="126"/>
                  </a:cubicBezTo>
                  <a:cubicBezTo>
                    <a:pt x="121" y="128"/>
                    <a:pt x="120" y="129"/>
                    <a:pt x="119" y="130"/>
                  </a:cubicBezTo>
                  <a:cubicBezTo>
                    <a:pt x="119" y="129"/>
                    <a:pt x="118" y="129"/>
                    <a:pt x="117" y="129"/>
                  </a:cubicBezTo>
                  <a:cubicBezTo>
                    <a:pt x="115" y="129"/>
                    <a:pt x="113" y="131"/>
                    <a:pt x="114" y="133"/>
                  </a:cubicBezTo>
                  <a:cubicBezTo>
                    <a:pt x="113" y="135"/>
                    <a:pt x="112" y="134"/>
                    <a:pt x="111" y="135"/>
                  </a:cubicBezTo>
                  <a:cubicBezTo>
                    <a:pt x="110" y="133"/>
                    <a:pt x="108" y="132"/>
                    <a:pt x="107" y="132"/>
                  </a:cubicBezTo>
                  <a:cubicBezTo>
                    <a:pt x="105" y="132"/>
                    <a:pt x="104" y="133"/>
                    <a:pt x="103" y="135"/>
                  </a:cubicBezTo>
                  <a:cubicBezTo>
                    <a:pt x="102" y="135"/>
                    <a:pt x="101" y="134"/>
                    <a:pt x="99" y="134"/>
                  </a:cubicBezTo>
                  <a:cubicBezTo>
                    <a:pt x="101" y="131"/>
                    <a:pt x="98" y="129"/>
                    <a:pt x="96" y="129"/>
                  </a:cubicBezTo>
                  <a:cubicBezTo>
                    <a:pt x="95" y="129"/>
                    <a:pt x="95" y="129"/>
                    <a:pt x="94" y="129"/>
                  </a:cubicBezTo>
                  <a:cubicBezTo>
                    <a:pt x="93" y="129"/>
                    <a:pt x="92" y="128"/>
                    <a:pt x="92" y="127"/>
                  </a:cubicBezTo>
                  <a:cubicBezTo>
                    <a:pt x="94" y="125"/>
                    <a:pt x="94" y="120"/>
                    <a:pt x="90" y="120"/>
                  </a:cubicBezTo>
                  <a:cubicBezTo>
                    <a:pt x="89" y="119"/>
                    <a:pt x="89" y="118"/>
                    <a:pt x="89" y="116"/>
                  </a:cubicBezTo>
                  <a:cubicBezTo>
                    <a:pt x="90" y="116"/>
                    <a:pt x="90" y="116"/>
                    <a:pt x="90" y="116"/>
                  </a:cubicBezTo>
                  <a:cubicBezTo>
                    <a:pt x="93" y="116"/>
                    <a:pt x="94" y="112"/>
                    <a:pt x="91" y="110"/>
                  </a:cubicBezTo>
                  <a:cubicBezTo>
                    <a:pt x="92" y="109"/>
                    <a:pt x="93" y="108"/>
                    <a:pt x="94" y="107"/>
                  </a:cubicBezTo>
                  <a:cubicBezTo>
                    <a:pt x="95" y="107"/>
                    <a:pt x="95" y="108"/>
                    <a:pt x="96" y="108"/>
                  </a:cubicBezTo>
                  <a:cubicBezTo>
                    <a:pt x="99" y="108"/>
                    <a:pt x="100" y="105"/>
                    <a:pt x="99" y="103"/>
                  </a:cubicBezTo>
                  <a:cubicBezTo>
                    <a:pt x="100" y="102"/>
                    <a:pt x="101" y="102"/>
                    <a:pt x="103" y="102"/>
                  </a:cubicBezTo>
                  <a:cubicBezTo>
                    <a:pt x="103" y="103"/>
                    <a:pt x="105" y="104"/>
                    <a:pt x="106" y="104"/>
                  </a:cubicBezTo>
                  <a:moveTo>
                    <a:pt x="65" y="59"/>
                  </a:moveTo>
                  <a:cubicBezTo>
                    <a:pt x="68" y="59"/>
                    <a:pt x="71" y="57"/>
                    <a:pt x="71" y="53"/>
                  </a:cubicBezTo>
                  <a:cubicBezTo>
                    <a:pt x="74" y="53"/>
                    <a:pt x="77" y="54"/>
                    <a:pt x="79" y="54"/>
                  </a:cubicBezTo>
                  <a:cubicBezTo>
                    <a:pt x="78" y="59"/>
                    <a:pt x="82" y="63"/>
                    <a:pt x="86" y="63"/>
                  </a:cubicBezTo>
                  <a:cubicBezTo>
                    <a:pt x="87" y="63"/>
                    <a:pt x="89" y="62"/>
                    <a:pt x="90" y="61"/>
                  </a:cubicBezTo>
                  <a:cubicBezTo>
                    <a:pt x="93" y="62"/>
                    <a:pt x="94" y="64"/>
                    <a:pt x="95" y="66"/>
                  </a:cubicBezTo>
                  <a:cubicBezTo>
                    <a:pt x="91" y="70"/>
                    <a:pt x="92" y="78"/>
                    <a:pt x="100" y="78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101" y="80"/>
                    <a:pt x="101" y="83"/>
                    <a:pt x="101" y="85"/>
                  </a:cubicBezTo>
                  <a:cubicBezTo>
                    <a:pt x="94" y="85"/>
                    <a:pt x="93" y="94"/>
                    <a:pt x="99" y="97"/>
                  </a:cubicBezTo>
                  <a:cubicBezTo>
                    <a:pt x="98" y="99"/>
                    <a:pt x="97" y="101"/>
                    <a:pt x="96" y="103"/>
                  </a:cubicBezTo>
                  <a:cubicBezTo>
                    <a:pt x="94" y="103"/>
                    <a:pt x="93" y="102"/>
                    <a:pt x="92" y="102"/>
                  </a:cubicBezTo>
                  <a:cubicBezTo>
                    <a:pt x="87" y="102"/>
                    <a:pt x="84" y="107"/>
                    <a:pt x="86" y="112"/>
                  </a:cubicBezTo>
                  <a:cubicBezTo>
                    <a:pt x="85" y="114"/>
                    <a:pt x="83" y="114"/>
                    <a:pt x="80" y="115"/>
                  </a:cubicBezTo>
                  <a:cubicBezTo>
                    <a:pt x="79" y="113"/>
                    <a:pt x="76" y="111"/>
                    <a:pt x="73" y="111"/>
                  </a:cubicBezTo>
                  <a:cubicBezTo>
                    <a:pt x="70" y="111"/>
                    <a:pt x="67" y="113"/>
                    <a:pt x="67" y="117"/>
                  </a:cubicBezTo>
                  <a:cubicBezTo>
                    <a:pt x="64" y="117"/>
                    <a:pt x="62" y="116"/>
                    <a:pt x="59" y="116"/>
                  </a:cubicBezTo>
                  <a:cubicBezTo>
                    <a:pt x="61" y="111"/>
                    <a:pt x="57" y="107"/>
                    <a:pt x="53" y="107"/>
                  </a:cubicBezTo>
                  <a:cubicBezTo>
                    <a:pt x="51" y="107"/>
                    <a:pt x="49" y="108"/>
                    <a:pt x="48" y="109"/>
                  </a:cubicBezTo>
                  <a:cubicBezTo>
                    <a:pt x="46" y="108"/>
                    <a:pt x="44" y="106"/>
                    <a:pt x="43" y="104"/>
                  </a:cubicBezTo>
                  <a:cubicBezTo>
                    <a:pt x="48" y="100"/>
                    <a:pt x="46" y="92"/>
                    <a:pt x="38" y="92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7" y="90"/>
                    <a:pt x="37" y="87"/>
                    <a:pt x="37" y="85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44" y="85"/>
                    <a:pt x="45" y="75"/>
                    <a:pt x="39" y="73"/>
                  </a:cubicBezTo>
                  <a:cubicBezTo>
                    <a:pt x="40" y="71"/>
                    <a:pt x="42" y="69"/>
                    <a:pt x="43" y="67"/>
                  </a:cubicBezTo>
                  <a:cubicBezTo>
                    <a:pt x="44" y="67"/>
                    <a:pt x="46" y="68"/>
                    <a:pt x="47" y="68"/>
                  </a:cubicBezTo>
                  <a:cubicBezTo>
                    <a:pt x="52" y="68"/>
                    <a:pt x="54" y="63"/>
                    <a:pt x="52" y="58"/>
                  </a:cubicBezTo>
                  <a:cubicBezTo>
                    <a:pt x="53" y="56"/>
                    <a:pt x="56" y="56"/>
                    <a:pt x="58" y="55"/>
                  </a:cubicBezTo>
                  <a:cubicBezTo>
                    <a:pt x="59" y="57"/>
                    <a:pt x="62" y="59"/>
                    <a:pt x="65" y="59"/>
                  </a:cubicBezTo>
                  <a:moveTo>
                    <a:pt x="54" y="0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175" y="132"/>
                    <a:pt x="175" y="132"/>
                    <a:pt x="175" y="132"/>
                  </a:cubicBezTo>
                  <a:cubicBezTo>
                    <a:pt x="175" y="132"/>
                    <a:pt x="175" y="132"/>
                    <a:pt x="175" y="132"/>
                  </a:cubicBezTo>
                  <a:cubicBezTo>
                    <a:pt x="54" y="0"/>
                    <a:pt x="54" y="0"/>
                    <a:pt x="54" y="0"/>
                  </a:cubicBezTo>
                </a:path>
              </a:pathLst>
            </a:custGeom>
            <a:solidFill>
              <a:srgbClr val="1C64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7"/>
            <p:cNvSpPr>
              <a:spLocks noEditPoints="1"/>
            </p:cNvSpPr>
            <p:nvPr userDrawn="1"/>
          </p:nvSpPr>
          <p:spPr bwMode="auto">
            <a:xfrm>
              <a:off x="2777" y="983"/>
              <a:ext cx="215" cy="198"/>
            </a:xfrm>
            <a:custGeom>
              <a:avLst/>
              <a:gdLst>
                <a:gd name="T0" fmla="*/ 183 w 291"/>
                <a:gd name="T1" fmla="*/ 227 h 268"/>
                <a:gd name="T2" fmla="*/ 150 w 291"/>
                <a:gd name="T3" fmla="*/ 226 h 268"/>
                <a:gd name="T4" fmla="*/ 151 w 291"/>
                <a:gd name="T5" fmla="*/ 190 h 268"/>
                <a:gd name="T6" fmla="*/ 184 w 291"/>
                <a:gd name="T7" fmla="*/ 191 h 268"/>
                <a:gd name="T8" fmla="*/ 183 w 291"/>
                <a:gd name="T9" fmla="*/ 227 h 268"/>
                <a:gd name="T10" fmla="*/ 154 w 291"/>
                <a:gd name="T11" fmla="*/ 91 h 268"/>
                <a:gd name="T12" fmla="*/ 155 w 291"/>
                <a:gd name="T13" fmla="*/ 47 h 268"/>
                <a:gd name="T14" fmla="*/ 163 w 291"/>
                <a:gd name="T15" fmla="*/ 46 h 268"/>
                <a:gd name="T16" fmla="*/ 164 w 291"/>
                <a:gd name="T17" fmla="*/ 46 h 268"/>
                <a:gd name="T18" fmla="*/ 218 w 291"/>
                <a:gd name="T19" fmla="*/ 102 h 268"/>
                <a:gd name="T20" fmla="*/ 208 w 291"/>
                <a:gd name="T21" fmla="*/ 132 h 268"/>
                <a:gd name="T22" fmla="*/ 201 w 291"/>
                <a:gd name="T23" fmla="*/ 145 h 268"/>
                <a:gd name="T24" fmla="*/ 195 w 291"/>
                <a:gd name="T25" fmla="*/ 155 h 268"/>
                <a:gd name="T26" fmla="*/ 190 w 291"/>
                <a:gd name="T27" fmla="*/ 174 h 268"/>
                <a:gd name="T28" fmla="*/ 187 w 291"/>
                <a:gd name="T29" fmla="*/ 182 h 268"/>
                <a:gd name="T30" fmla="*/ 182 w 291"/>
                <a:gd name="T31" fmla="*/ 185 h 268"/>
                <a:gd name="T32" fmla="*/ 181 w 291"/>
                <a:gd name="T33" fmla="*/ 185 h 268"/>
                <a:gd name="T34" fmla="*/ 177 w 291"/>
                <a:gd name="T35" fmla="*/ 185 h 268"/>
                <a:gd name="T36" fmla="*/ 172 w 291"/>
                <a:gd name="T37" fmla="*/ 185 h 268"/>
                <a:gd name="T38" fmla="*/ 151 w 291"/>
                <a:gd name="T39" fmla="*/ 184 h 268"/>
                <a:gd name="T40" fmla="*/ 153 w 291"/>
                <a:gd name="T41" fmla="*/ 118 h 268"/>
                <a:gd name="T42" fmla="*/ 178 w 291"/>
                <a:gd name="T43" fmla="*/ 139 h 268"/>
                <a:gd name="T44" fmla="*/ 189 w 291"/>
                <a:gd name="T45" fmla="*/ 78 h 268"/>
                <a:gd name="T46" fmla="*/ 154 w 291"/>
                <a:gd name="T47" fmla="*/ 91 h 268"/>
                <a:gd name="T48" fmla="*/ 113 w 291"/>
                <a:gd name="T49" fmla="*/ 75 h 268"/>
                <a:gd name="T50" fmla="*/ 124 w 291"/>
                <a:gd name="T51" fmla="*/ 71 h 268"/>
                <a:gd name="T52" fmla="*/ 135 w 291"/>
                <a:gd name="T53" fmla="*/ 46 h 268"/>
                <a:gd name="T54" fmla="*/ 135 w 291"/>
                <a:gd name="T55" fmla="*/ 46 h 268"/>
                <a:gd name="T56" fmla="*/ 145 w 291"/>
                <a:gd name="T57" fmla="*/ 46 h 268"/>
                <a:gd name="T58" fmla="*/ 144 w 291"/>
                <a:gd name="T59" fmla="*/ 108 h 268"/>
                <a:gd name="T60" fmla="*/ 143 w 291"/>
                <a:gd name="T61" fmla="*/ 108 h 268"/>
                <a:gd name="T62" fmla="*/ 114 w 291"/>
                <a:gd name="T63" fmla="*/ 136 h 268"/>
                <a:gd name="T64" fmla="*/ 143 w 291"/>
                <a:gd name="T65" fmla="*/ 165 h 268"/>
                <a:gd name="T66" fmla="*/ 143 w 291"/>
                <a:gd name="T67" fmla="*/ 165 h 268"/>
                <a:gd name="T68" fmla="*/ 141 w 291"/>
                <a:gd name="T69" fmla="*/ 227 h 268"/>
                <a:gd name="T70" fmla="*/ 131 w 291"/>
                <a:gd name="T71" fmla="*/ 227 h 268"/>
                <a:gd name="T72" fmla="*/ 120 w 291"/>
                <a:gd name="T73" fmla="*/ 201 h 268"/>
                <a:gd name="T74" fmla="*/ 109 w 291"/>
                <a:gd name="T75" fmla="*/ 197 h 268"/>
                <a:gd name="T76" fmla="*/ 84 w 291"/>
                <a:gd name="T77" fmla="*/ 206 h 268"/>
                <a:gd name="T78" fmla="*/ 84 w 291"/>
                <a:gd name="T79" fmla="*/ 206 h 268"/>
                <a:gd name="T80" fmla="*/ 70 w 291"/>
                <a:gd name="T81" fmla="*/ 192 h 268"/>
                <a:gd name="T82" fmla="*/ 80 w 291"/>
                <a:gd name="T83" fmla="*/ 167 h 268"/>
                <a:gd name="T84" fmla="*/ 76 w 291"/>
                <a:gd name="T85" fmla="*/ 155 h 268"/>
                <a:gd name="T86" fmla="*/ 51 w 291"/>
                <a:gd name="T87" fmla="*/ 144 h 268"/>
                <a:gd name="T88" fmla="*/ 51 w 291"/>
                <a:gd name="T89" fmla="*/ 124 h 268"/>
                <a:gd name="T90" fmla="*/ 77 w 291"/>
                <a:gd name="T91" fmla="*/ 114 h 268"/>
                <a:gd name="T92" fmla="*/ 82 w 291"/>
                <a:gd name="T93" fmla="*/ 103 h 268"/>
                <a:gd name="T94" fmla="*/ 72 w 291"/>
                <a:gd name="T95" fmla="*/ 78 h 268"/>
                <a:gd name="T96" fmla="*/ 87 w 291"/>
                <a:gd name="T97" fmla="*/ 64 h 268"/>
                <a:gd name="T98" fmla="*/ 87 w 291"/>
                <a:gd name="T99" fmla="*/ 64 h 268"/>
                <a:gd name="T100" fmla="*/ 113 w 291"/>
                <a:gd name="T101" fmla="*/ 75 h 268"/>
                <a:gd name="T102" fmla="*/ 145 w 291"/>
                <a:gd name="T103" fmla="*/ 0 h 268"/>
                <a:gd name="T104" fmla="*/ 14 w 291"/>
                <a:gd name="T105" fmla="*/ 108 h 268"/>
                <a:gd name="T106" fmla="*/ 119 w 291"/>
                <a:gd name="T107" fmla="*/ 265 h 268"/>
                <a:gd name="T108" fmla="*/ 144 w 291"/>
                <a:gd name="T109" fmla="*/ 268 h 268"/>
                <a:gd name="T110" fmla="*/ 147 w 291"/>
                <a:gd name="T111" fmla="*/ 268 h 268"/>
                <a:gd name="T112" fmla="*/ 276 w 291"/>
                <a:gd name="T113" fmla="*/ 160 h 268"/>
                <a:gd name="T114" fmla="*/ 171 w 291"/>
                <a:gd name="T115" fmla="*/ 3 h 268"/>
                <a:gd name="T116" fmla="*/ 145 w 291"/>
                <a:gd name="T117" fmla="*/ 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1" h="268">
                  <a:moveTo>
                    <a:pt x="183" y="227"/>
                  </a:moveTo>
                  <a:cubicBezTo>
                    <a:pt x="150" y="226"/>
                    <a:pt x="150" y="226"/>
                    <a:pt x="150" y="226"/>
                  </a:cubicBezTo>
                  <a:cubicBezTo>
                    <a:pt x="151" y="190"/>
                    <a:pt x="151" y="190"/>
                    <a:pt x="151" y="190"/>
                  </a:cubicBezTo>
                  <a:cubicBezTo>
                    <a:pt x="184" y="191"/>
                    <a:pt x="184" y="191"/>
                    <a:pt x="184" y="191"/>
                  </a:cubicBezTo>
                  <a:cubicBezTo>
                    <a:pt x="183" y="227"/>
                    <a:pt x="183" y="227"/>
                    <a:pt x="183" y="227"/>
                  </a:cubicBezTo>
                  <a:moveTo>
                    <a:pt x="154" y="91"/>
                  </a:moveTo>
                  <a:cubicBezTo>
                    <a:pt x="155" y="47"/>
                    <a:pt x="155" y="47"/>
                    <a:pt x="155" y="47"/>
                  </a:cubicBezTo>
                  <a:cubicBezTo>
                    <a:pt x="157" y="46"/>
                    <a:pt x="160" y="46"/>
                    <a:pt x="163" y="46"/>
                  </a:cubicBezTo>
                  <a:cubicBezTo>
                    <a:pt x="163" y="46"/>
                    <a:pt x="164" y="46"/>
                    <a:pt x="164" y="46"/>
                  </a:cubicBezTo>
                  <a:cubicBezTo>
                    <a:pt x="194" y="47"/>
                    <a:pt x="218" y="72"/>
                    <a:pt x="218" y="102"/>
                  </a:cubicBezTo>
                  <a:cubicBezTo>
                    <a:pt x="217" y="113"/>
                    <a:pt x="214" y="123"/>
                    <a:pt x="208" y="132"/>
                  </a:cubicBezTo>
                  <a:cubicBezTo>
                    <a:pt x="201" y="145"/>
                    <a:pt x="201" y="145"/>
                    <a:pt x="201" y="145"/>
                  </a:cubicBezTo>
                  <a:cubicBezTo>
                    <a:pt x="195" y="155"/>
                    <a:pt x="195" y="155"/>
                    <a:pt x="195" y="155"/>
                  </a:cubicBezTo>
                  <a:cubicBezTo>
                    <a:pt x="194" y="157"/>
                    <a:pt x="190" y="166"/>
                    <a:pt x="190" y="174"/>
                  </a:cubicBezTo>
                  <a:cubicBezTo>
                    <a:pt x="190" y="177"/>
                    <a:pt x="189" y="180"/>
                    <a:pt x="187" y="182"/>
                  </a:cubicBezTo>
                  <a:cubicBezTo>
                    <a:pt x="186" y="185"/>
                    <a:pt x="184" y="185"/>
                    <a:pt x="182" y="185"/>
                  </a:cubicBezTo>
                  <a:cubicBezTo>
                    <a:pt x="182" y="185"/>
                    <a:pt x="182" y="185"/>
                    <a:pt x="181" y="185"/>
                  </a:cubicBezTo>
                  <a:cubicBezTo>
                    <a:pt x="180" y="185"/>
                    <a:pt x="179" y="185"/>
                    <a:pt x="177" y="185"/>
                  </a:cubicBezTo>
                  <a:cubicBezTo>
                    <a:pt x="176" y="185"/>
                    <a:pt x="174" y="185"/>
                    <a:pt x="172" y="185"/>
                  </a:cubicBezTo>
                  <a:cubicBezTo>
                    <a:pt x="165" y="184"/>
                    <a:pt x="158" y="184"/>
                    <a:pt x="151" y="184"/>
                  </a:cubicBezTo>
                  <a:cubicBezTo>
                    <a:pt x="153" y="118"/>
                    <a:pt x="153" y="118"/>
                    <a:pt x="153" y="118"/>
                  </a:cubicBezTo>
                  <a:cubicBezTo>
                    <a:pt x="178" y="139"/>
                    <a:pt x="178" y="139"/>
                    <a:pt x="178" y="139"/>
                  </a:cubicBezTo>
                  <a:cubicBezTo>
                    <a:pt x="189" y="78"/>
                    <a:pt x="189" y="78"/>
                    <a:pt x="189" y="78"/>
                  </a:cubicBezTo>
                  <a:cubicBezTo>
                    <a:pt x="154" y="91"/>
                    <a:pt x="154" y="91"/>
                    <a:pt x="154" y="91"/>
                  </a:cubicBezTo>
                  <a:moveTo>
                    <a:pt x="113" y="75"/>
                  </a:moveTo>
                  <a:cubicBezTo>
                    <a:pt x="124" y="71"/>
                    <a:pt x="124" y="71"/>
                    <a:pt x="124" y="71"/>
                  </a:cubicBezTo>
                  <a:cubicBezTo>
                    <a:pt x="124" y="71"/>
                    <a:pt x="134" y="46"/>
                    <a:pt x="135" y="46"/>
                  </a:cubicBezTo>
                  <a:cubicBezTo>
                    <a:pt x="135" y="46"/>
                    <a:pt x="135" y="46"/>
                    <a:pt x="135" y="46"/>
                  </a:cubicBezTo>
                  <a:cubicBezTo>
                    <a:pt x="145" y="46"/>
                    <a:pt x="145" y="46"/>
                    <a:pt x="145" y="46"/>
                  </a:cubicBezTo>
                  <a:cubicBezTo>
                    <a:pt x="144" y="108"/>
                    <a:pt x="144" y="108"/>
                    <a:pt x="144" y="108"/>
                  </a:cubicBezTo>
                  <a:cubicBezTo>
                    <a:pt x="144" y="108"/>
                    <a:pt x="143" y="108"/>
                    <a:pt x="143" y="108"/>
                  </a:cubicBezTo>
                  <a:cubicBezTo>
                    <a:pt x="127" y="108"/>
                    <a:pt x="114" y="120"/>
                    <a:pt x="114" y="136"/>
                  </a:cubicBezTo>
                  <a:cubicBezTo>
                    <a:pt x="113" y="152"/>
                    <a:pt x="126" y="165"/>
                    <a:pt x="143" y="165"/>
                  </a:cubicBezTo>
                  <a:cubicBezTo>
                    <a:pt x="143" y="165"/>
                    <a:pt x="143" y="165"/>
                    <a:pt x="143" y="165"/>
                  </a:cubicBezTo>
                  <a:cubicBezTo>
                    <a:pt x="141" y="227"/>
                    <a:pt x="141" y="227"/>
                    <a:pt x="141" y="227"/>
                  </a:cubicBezTo>
                  <a:cubicBezTo>
                    <a:pt x="131" y="227"/>
                    <a:pt x="131" y="227"/>
                    <a:pt x="131" y="227"/>
                  </a:cubicBezTo>
                  <a:cubicBezTo>
                    <a:pt x="130" y="226"/>
                    <a:pt x="120" y="201"/>
                    <a:pt x="120" y="201"/>
                  </a:cubicBezTo>
                  <a:cubicBezTo>
                    <a:pt x="109" y="197"/>
                    <a:pt x="109" y="197"/>
                    <a:pt x="109" y="197"/>
                  </a:cubicBezTo>
                  <a:cubicBezTo>
                    <a:pt x="109" y="197"/>
                    <a:pt x="87" y="206"/>
                    <a:pt x="84" y="206"/>
                  </a:cubicBezTo>
                  <a:cubicBezTo>
                    <a:pt x="84" y="206"/>
                    <a:pt x="84" y="206"/>
                    <a:pt x="84" y="206"/>
                  </a:cubicBezTo>
                  <a:cubicBezTo>
                    <a:pt x="70" y="192"/>
                    <a:pt x="70" y="192"/>
                    <a:pt x="70" y="192"/>
                  </a:cubicBezTo>
                  <a:cubicBezTo>
                    <a:pt x="69" y="191"/>
                    <a:pt x="80" y="167"/>
                    <a:pt x="80" y="167"/>
                  </a:cubicBezTo>
                  <a:cubicBezTo>
                    <a:pt x="76" y="155"/>
                    <a:pt x="76" y="155"/>
                    <a:pt x="76" y="155"/>
                  </a:cubicBezTo>
                  <a:cubicBezTo>
                    <a:pt x="76" y="155"/>
                    <a:pt x="51" y="146"/>
                    <a:pt x="51" y="144"/>
                  </a:cubicBezTo>
                  <a:cubicBezTo>
                    <a:pt x="51" y="124"/>
                    <a:pt x="51" y="124"/>
                    <a:pt x="51" y="124"/>
                  </a:cubicBezTo>
                  <a:cubicBezTo>
                    <a:pt x="51" y="123"/>
                    <a:pt x="77" y="114"/>
                    <a:pt x="77" y="114"/>
                  </a:cubicBezTo>
                  <a:cubicBezTo>
                    <a:pt x="82" y="103"/>
                    <a:pt x="82" y="103"/>
                    <a:pt x="82" y="103"/>
                  </a:cubicBezTo>
                  <a:cubicBezTo>
                    <a:pt x="82" y="103"/>
                    <a:pt x="71" y="79"/>
                    <a:pt x="72" y="78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90" y="64"/>
                    <a:pt x="113" y="75"/>
                    <a:pt x="113" y="75"/>
                  </a:cubicBezTo>
                  <a:moveTo>
                    <a:pt x="145" y="0"/>
                  </a:moveTo>
                  <a:cubicBezTo>
                    <a:pt x="83" y="0"/>
                    <a:pt x="27" y="44"/>
                    <a:pt x="14" y="108"/>
                  </a:cubicBezTo>
                  <a:cubicBezTo>
                    <a:pt x="0" y="180"/>
                    <a:pt x="47" y="250"/>
                    <a:pt x="119" y="265"/>
                  </a:cubicBezTo>
                  <a:cubicBezTo>
                    <a:pt x="127" y="267"/>
                    <a:pt x="135" y="267"/>
                    <a:pt x="144" y="268"/>
                  </a:cubicBezTo>
                  <a:cubicBezTo>
                    <a:pt x="147" y="268"/>
                    <a:pt x="147" y="268"/>
                    <a:pt x="147" y="268"/>
                  </a:cubicBezTo>
                  <a:cubicBezTo>
                    <a:pt x="209" y="267"/>
                    <a:pt x="264" y="223"/>
                    <a:pt x="276" y="160"/>
                  </a:cubicBezTo>
                  <a:cubicBezTo>
                    <a:pt x="291" y="88"/>
                    <a:pt x="244" y="18"/>
                    <a:pt x="171" y="3"/>
                  </a:cubicBezTo>
                  <a:cubicBezTo>
                    <a:pt x="163" y="1"/>
                    <a:pt x="154" y="0"/>
                    <a:pt x="145" y="0"/>
                  </a:cubicBezTo>
                </a:path>
              </a:pathLst>
            </a:custGeom>
            <a:solidFill>
              <a:srgbClr val="216BB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933825" y="2447466"/>
            <a:ext cx="4953000" cy="142762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44350" indent="0">
              <a:buNone/>
              <a:defRPr>
                <a:solidFill>
                  <a:schemeClr val="bg1"/>
                </a:solidFill>
              </a:defRPr>
            </a:lvl2pPr>
            <a:lvl3pPr marL="587250" indent="0">
              <a:buNone/>
              <a:defRPr>
                <a:solidFill>
                  <a:schemeClr val="bg1"/>
                </a:solidFill>
              </a:defRPr>
            </a:lvl3pPr>
            <a:lvl4pPr marL="930150" indent="0">
              <a:buNone/>
              <a:defRPr>
                <a:solidFill>
                  <a:schemeClr val="bg1"/>
                </a:solidFill>
              </a:defRPr>
            </a:lvl4pPr>
            <a:lvl5pPr marL="127305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</p:txBody>
      </p:sp>
      <p:grpSp>
        <p:nvGrpSpPr>
          <p:cNvPr id="196" name="Group 19"/>
          <p:cNvGrpSpPr>
            <a:grpSpLocks noChangeAspect="1"/>
          </p:cNvGrpSpPr>
          <p:nvPr userDrawn="1"/>
        </p:nvGrpSpPr>
        <p:grpSpPr bwMode="auto">
          <a:xfrm>
            <a:off x="8449097" y="4375544"/>
            <a:ext cx="438164" cy="423513"/>
            <a:chOff x="2074" y="843"/>
            <a:chExt cx="1615" cy="1561"/>
          </a:xfrm>
        </p:grpSpPr>
        <p:sp>
          <p:nvSpPr>
            <p:cNvPr id="197" name="Freeform 20"/>
            <p:cNvSpPr>
              <a:spLocks noEditPoints="1"/>
            </p:cNvSpPr>
            <p:nvPr userDrawn="1"/>
          </p:nvSpPr>
          <p:spPr bwMode="auto">
            <a:xfrm>
              <a:off x="2074" y="1379"/>
              <a:ext cx="1525" cy="442"/>
            </a:xfrm>
            <a:custGeom>
              <a:avLst/>
              <a:gdLst>
                <a:gd name="T0" fmla="*/ 646 w 646"/>
                <a:gd name="T1" fmla="*/ 0 h 187"/>
                <a:gd name="T2" fmla="*/ 0 w 646"/>
                <a:gd name="T3" fmla="*/ 187 h 187"/>
                <a:gd name="T4" fmla="*/ 0 w 646"/>
                <a:gd name="T5" fmla="*/ 0 h 187"/>
                <a:gd name="T6" fmla="*/ 334 w 646"/>
                <a:gd name="T7" fmla="*/ 41 h 187"/>
                <a:gd name="T8" fmla="*/ 298 w 646"/>
                <a:gd name="T9" fmla="*/ 41 h 187"/>
                <a:gd name="T10" fmla="*/ 289 w 646"/>
                <a:gd name="T11" fmla="*/ 66 h 187"/>
                <a:gd name="T12" fmla="*/ 325 w 646"/>
                <a:gd name="T13" fmla="*/ 48 h 187"/>
                <a:gd name="T14" fmla="*/ 316 w 646"/>
                <a:gd name="T15" fmla="*/ 140 h 187"/>
                <a:gd name="T16" fmla="*/ 358 w 646"/>
                <a:gd name="T17" fmla="*/ 144 h 187"/>
                <a:gd name="T18" fmla="*/ 343 w 646"/>
                <a:gd name="T19" fmla="*/ 130 h 187"/>
                <a:gd name="T20" fmla="*/ 343 w 646"/>
                <a:gd name="T21" fmla="*/ 47 h 187"/>
                <a:gd name="T22" fmla="*/ 375 w 646"/>
                <a:gd name="T23" fmla="*/ 66 h 187"/>
                <a:gd name="T24" fmla="*/ 377 w 646"/>
                <a:gd name="T25" fmla="*/ 37 h 187"/>
                <a:gd name="T26" fmla="*/ 207 w 646"/>
                <a:gd name="T27" fmla="*/ 69 h 187"/>
                <a:gd name="T28" fmla="*/ 233 w 646"/>
                <a:gd name="T29" fmla="*/ 141 h 187"/>
                <a:gd name="T30" fmla="*/ 204 w 646"/>
                <a:gd name="T31" fmla="*/ 116 h 187"/>
                <a:gd name="T32" fmla="*/ 270 w 646"/>
                <a:gd name="T33" fmla="*/ 119 h 187"/>
                <a:gd name="T34" fmla="*/ 225 w 646"/>
                <a:gd name="T35" fmla="*/ 69 h 187"/>
                <a:gd name="T36" fmla="*/ 258 w 646"/>
                <a:gd name="T37" fmla="*/ 56 h 187"/>
                <a:gd name="T38" fmla="*/ 266 w 646"/>
                <a:gd name="T39" fmla="*/ 64 h 187"/>
                <a:gd name="T40" fmla="*/ 207 w 646"/>
                <a:gd name="T41" fmla="*/ 69 h 187"/>
                <a:gd name="T42" fmla="*/ 44 w 646"/>
                <a:gd name="T43" fmla="*/ 45 h 187"/>
                <a:gd name="T44" fmla="*/ 58 w 646"/>
                <a:gd name="T45" fmla="*/ 93 h 187"/>
                <a:gd name="T46" fmla="*/ 43 w 646"/>
                <a:gd name="T47" fmla="*/ 144 h 187"/>
                <a:gd name="T48" fmla="*/ 124 w 646"/>
                <a:gd name="T49" fmla="*/ 119 h 187"/>
                <a:gd name="T50" fmla="*/ 93 w 646"/>
                <a:gd name="T51" fmla="*/ 139 h 187"/>
                <a:gd name="T52" fmla="*/ 76 w 646"/>
                <a:gd name="T53" fmla="*/ 92 h 187"/>
                <a:gd name="T54" fmla="*/ 85 w 646"/>
                <a:gd name="T55" fmla="*/ 45 h 187"/>
                <a:gd name="T56" fmla="*/ 44 w 646"/>
                <a:gd name="T57" fmla="*/ 41 h 187"/>
                <a:gd name="T58" fmla="*/ 139 w 646"/>
                <a:gd name="T59" fmla="*/ 42 h 187"/>
                <a:gd name="T60" fmla="*/ 152 w 646"/>
                <a:gd name="T61" fmla="*/ 56 h 187"/>
                <a:gd name="T62" fmla="*/ 152 w 646"/>
                <a:gd name="T63" fmla="*/ 130 h 187"/>
                <a:gd name="T64" fmla="*/ 139 w 646"/>
                <a:gd name="T65" fmla="*/ 142 h 187"/>
                <a:gd name="T66" fmla="*/ 173 w 646"/>
                <a:gd name="T67" fmla="*/ 145 h 187"/>
                <a:gd name="T68" fmla="*/ 173 w 646"/>
                <a:gd name="T69" fmla="*/ 138 h 187"/>
                <a:gd name="T70" fmla="*/ 170 w 646"/>
                <a:gd name="T71" fmla="*/ 94 h 187"/>
                <a:gd name="T72" fmla="*/ 184 w 646"/>
                <a:gd name="T73" fmla="*/ 41 h 187"/>
                <a:gd name="T74" fmla="*/ 139 w 646"/>
                <a:gd name="T75" fmla="*/ 42 h 187"/>
                <a:gd name="T76" fmla="*/ 411 w 646"/>
                <a:gd name="T77" fmla="*/ 67 h 187"/>
                <a:gd name="T78" fmla="*/ 408 w 646"/>
                <a:gd name="T79" fmla="*/ 137 h 187"/>
                <a:gd name="T80" fmla="*/ 395 w 646"/>
                <a:gd name="T81" fmla="*/ 144 h 187"/>
                <a:gd name="T82" fmla="*/ 479 w 646"/>
                <a:gd name="T83" fmla="*/ 119 h 187"/>
                <a:gd name="T84" fmla="*/ 447 w 646"/>
                <a:gd name="T85" fmla="*/ 139 h 187"/>
                <a:gd name="T86" fmla="*/ 428 w 646"/>
                <a:gd name="T87" fmla="*/ 118 h 187"/>
                <a:gd name="T88" fmla="*/ 455 w 646"/>
                <a:gd name="T89" fmla="*/ 96 h 187"/>
                <a:gd name="T90" fmla="*/ 463 w 646"/>
                <a:gd name="T91" fmla="*/ 108 h 187"/>
                <a:gd name="T92" fmla="*/ 458 w 646"/>
                <a:gd name="T93" fmla="*/ 74 h 187"/>
                <a:gd name="T94" fmla="*/ 428 w 646"/>
                <a:gd name="T95" fmla="*/ 87 h 187"/>
                <a:gd name="T96" fmla="*/ 460 w 646"/>
                <a:gd name="T97" fmla="*/ 50 h 187"/>
                <a:gd name="T98" fmla="*/ 471 w 646"/>
                <a:gd name="T99" fmla="*/ 65 h 187"/>
                <a:gd name="T100" fmla="*/ 397 w 646"/>
                <a:gd name="T101" fmla="*/ 41 h 187"/>
                <a:gd name="T102" fmla="*/ 495 w 646"/>
                <a:gd name="T103" fmla="*/ 42 h 187"/>
                <a:gd name="T104" fmla="*/ 506 w 646"/>
                <a:gd name="T105" fmla="*/ 48 h 187"/>
                <a:gd name="T106" fmla="*/ 508 w 646"/>
                <a:gd name="T107" fmla="*/ 117 h 187"/>
                <a:gd name="T108" fmla="*/ 494 w 646"/>
                <a:gd name="T109" fmla="*/ 143 h 187"/>
                <a:gd name="T110" fmla="*/ 533 w 646"/>
                <a:gd name="T111" fmla="*/ 145 h 187"/>
                <a:gd name="T112" fmla="*/ 584 w 646"/>
                <a:gd name="T113" fmla="*/ 51 h 187"/>
                <a:gd name="T114" fmla="*/ 495 w 646"/>
                <a:gd name="T115" fmla="*/ 42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46" h="187">
                  <a:moveTo>
                    <a:pt x="0" y="0"/>
                  </a:moveTo>
                  <a:cubicBezTo>
                    <a:pt x="646" y="0"/>
                    <a:pt x="646" y="0"/>
                    <a:pt x="646" y="0"/>
                  </a:cubicBezTo>
                  <a:cubicBezTo>
                    <a:pt x="646" y="186"/>
                    <a:pt x="646" y="186"/>
                    <a:pt x="646" y="186"/>
                  </a:cubicBezTo>
                  <a:cubicBezTo>
                    <a:pt x="431" y="187"/>
                    <a:pt x="215" y="186"/>
                    <a:pt x="0" y="18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369" y="41"/>
                  </a:moveTo>
                  <a:cubicBezTo>
                    <a:pt x="361" y="43"/>
                    <a:pt x="346" y="41"/>
                    <a:pt x="334" y="41"/>
                  </a:cubicBezTo>
                  <a:cubicBezTo>
                    <a:pt x="316" y="41"/>
                    <a:pt x="316" y="41"/>
                    <a:pt x="316" y="41"/>
                  </a:cubicBezTo>
                  <a:cubicBezTo>
                    <a:pt x="309" y="41"/>
                    <a:pt x="302" y="42"/>
                    <a:pt x="298" y="41"/>
                  </a:cubicBezTo>
                  <a:cubicBezTo>
                    <a:pt x="295" y="40"/>
                    <a:pt x="293" y="36"/>
                    <a:pt x="290" y="37"/>
                  </a:cubicBezTo>
                  <a:cubicBezTo>
                    <a:pt x="289" y="45"/>
                    <a:pt x="288" y="58"/>
                    <a:pt x="289" y="66"/>
                  </a:cubicBezTo>
                  <a:cubicBezTo>
                    <a:pt x="292" y="66"/>
                    <a:pt x="292" y="66"/>
                    <a:pt x="292" y="66"/>
                  </a:cubicBezTo>
                  <a:cubicBezTo>
                    <a:pt x="294" y="50"/>
                    <a:pt x="306" y="44"/>
                    <a:pt x="325" y="48"/>
                  </a:cubicBezTo>
                  <a:cubicBezTo>
                    <a:pt x="325" y="117"/>
                    <a:pt x="325" y="117"/>
                    <a:pt x="325" y="117"/>
                  </a:cubicBezTo>
                  <a:cubicBezTo>
                    <a:pt x="325" y="129"/>
                    <a:pt x="326" y="138"/>
                    <a:pt x="316" y="140"/>
                  </a:cubicBezTo>
                  <a:cubicBezTo>
                    <a:pt x="312" y="141"/>
                    <a:pt x="307" y="139"/>
                    <a:pt x="309" y="144"/>
                  </a:cubicBezTo>
                  <a:cubicBezTo>
                    <a:pt x="324" y="145"/>
                    <a:pt x="344" y="146"/>
                    <a:pt x="358" y="144"/>
                  </a:cubicBezTo>
                  <a:cubicBezTo>
                    <a:pt x="358" y="141"/>
                    <a:pt x="358" y="141"/>
                    <a:pt x="358" y="141"/>
                  </a:cubicBezTo>
                  <a:cubicBezTo>
                    <a:pt x="350" y="140"/>
                    <a:pt x="344" y="139"/>
                    <a:pt x="343" y="130"/>
                  </a:cubicBezTo>
                  <a:cubicBezTo>
                    <a:pt x="341" y="119"/>
                    <a:pt x="343" y="103"/>
                    <a:pt x="343" y="89"/>
                  </a:cubicBezTo>
                  <a:cubicBezTo>
                    <a:pt x="343" y="47"/>
                    <a:pt x="343" y="47"/>
                    <a:pt x="343" y="47"/>
                  </a:cubicBezTo>
                  <a:cubicBezTo>
                    <a:pt x="353" y="48"/>
                    <a:pt x="362" y="46"/>
                    <a:pt x="368" y="50"/>
                  </a:cubicBezTo>
                  <a:cubicBezTo>
                    <a:pt x="373" y="53"/>
                    <a:pt x="372" y="60"/>
                    <a:pt x="375" y="66"/>
                  </a:cubicBezTo>
                  <a:cubicBezTo>
                    <a:pt x="379" y="66"/>
                    <a:pt x="379" y="66"/>
                    <a:pt x="379" y="66"/>
                  </a:cubicBezTo>
                  <a:cubicBezTo>
                    <a:pt x="379" y="57"/>
                    <a:pt x="377" y="45"/>
                    <a:pt x="377" y="37"/>
                  </a:cubicBezTo>
                  <a:cubicBezTo>
                    <a:pt x="375" y="36"/>
                    <a:pt x="373" y="40"/>
                    <a:pt x="369" y="41"/>
                  </a:cubicBezTo>
                  <a:moveTo>
                    <a:pt x="207" y="69"/>
                  </a:moveTo>
                  <a:cubicBezTo>
                    <a:pt x="208" y="96"/>
                    <a:pt x="243" y="97"/>
                    <a:pt x="252" y="113"/>
                  </a:cubicBezTo>
                  <a:cubicBezTo>
                    <a:pt x="259" y="127"/>
                    <a:pt x="250" y="143"/>
                    <a:pt x="233" y="141"/>
                  </a:cubicBezTo>
                  <a:cubicBezTo>
                    <a:pt x="219" y="139"/>
                    <a:pt x="214" y="126"/>
                    <a:pt x="208" y="115"/>
                  </a:cubicBezTo>
                  <a:cubicBezTo>
                    <a:pt x="207" y="116"/>
                    <a:pt x="205" y="116"/>
                    <a:pt x="204" y="116"/>
                  </a:cubicBezTo>
                  <a:cubicBezTo>
                    <a:pt x="204" y="124"/>
                    <a:pt x="207" y="133"/>
                    <a:pt x="208" y="141"/>
                  </a:cubicBezTo>
                  <a:cubicBezTo>
                    <a:pt x="235" y="155"/>
                    <a:pt x="268" y="145"/>
                    <a:pt x="270" y="119"/>
                  </a:cubicBezTo>
                  <a:cubicBezTo>
                    <a:pt x="272" y="106"/>
                    <a:pt x="266" y="97"/>
                    <a:pt x="260" y="92"/>
                  </a:cubicBezTo>
                  <a:cubicBezTo>
                    <a:pt x="249" y="83"/>
                    <a:pt x="232" y="81"/>
                    <a:pt x="225" y="69"/>
                  </a:cubicBezTo>
                  <a:cubicBezTo>
                    <a:pt x="221" y="61"/>
                    <a:pt x="224" y="51"/>
                    <a:pt x="231" y="47"/>
                  </a:cubicBezTo>
                  <a:cubicBezTo>
                    <a:pt x="243" y="40"/>
                    <a:pt x="253" y="48"/>
                    <a:pt x="258" y="56"/>
                  </a:cubicBezTo>
                  <a:cubicBezTo>
                    <a:pt x="258" y="58"/>
                    <a:pt x="260" y="65"/>
                    <a:pt x="262" y="65"/>
                  </a:cubicBezTo>
                  <a:cubicBezTo>
                    <a:pt x="263" y="65"/>
                    <a:pt x="264" y="64"/>
                    <a:pt x="266" y="64"/>
                  </a:cubicBezTo>
                  <a:cubicBezTo>
                    <a:pt x="266" y="58"/>
                    <a:pt x="263" y="50"/>
                    <a:pt x="263" y="42"/>
                  </a:cubicBezTo>
                  <a:cubicBezTo>
                    <a:pt x="238" y="32"/>
                    <a:pt x="207" y="41"/>
                    <a:pt x="207" y="69"/>
                  </a:cubicBezTo>
                  <a:moveTo>
                    <a:pt x="44" y="42"/>
                  </a:moveTo>
                  <a:cubicBezTo>
                    <a:pt x="44" y="45"/>
                    <a:pt x="44" y="45"/>
                    <a:pt x="44" y="45"/>
                  </a:cubicBezTo>
                  <a:cubicBezTo>
                    <a:pt x="59" y="43"/>
                    <a:pt x="58" y="57"/>
                    <a:pt x="58" y="71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58" y="106"/>
                    <a:pt x="61" y="135"/>
                    <a:pt x="53" y="139"/>
                  </a:cubicBezTo>
                  <a:cubicBezTo>
                    <a:pt x="49" y="141"/>
                    <a:pt x="42" y="138"/>
                    <a:pt x="43" y="144"/>
                  </a:cubicBezTo>
                  <a:cubicBezTo>
                    <a:pt x="67" y="146"/>
                    <a:pt x="94" y="144"/>
                    <a:pt x="118" y="145"/>
                  </a:cubicBezTo>
                  <a:cubicBezTo>
                    <a:pt x="120" y="136"/>
                    <a:pt x="123" y="128"/>
                    <a:pt x="124" y="119"/>
                  </a:cubicBezTo>
                  <a:cubicBezTo>
                    <a:pt x="118" y="116"/>
                    <a:pt x="118" y="121"/>
                    <a:pt x="117" y="124"/>
                  </a:cubicBezTo>
                  <a:cubicBezTo>
                    <a:pt x="113" y="135"/>
                    <a:pt x="107" y="139"/>
                    <a:pt x="93" y="139"/>
                  </a:cubicBezTo>
                  <a:cubicBezTo>
                    <a:pt x="84" y="139"/>
                    <a:pt x="77" y="138"/>
                    <a:pt x="76" y="127"/>
                  </a:cubicBezTo>
                  <a:cubicBezTo>
                    <a:pt x="75" y="117"/>
                    <a:pt x="76" y="104"/>
                    <a:pt x="76" y="92"/>
                  </a:cubicBezTo>
                  <a:cubicBezTo>
                    <a:pt x="76" y="79"/>
                    <a:pt x="75" y="66"/>
                    <a:pt x="76" y="56"/>
                  </a:cubicBezTo>
                  <a:cubicBezTo>
                    <a:pt x="76" y="48"/>
                    <a:pt x="79" y="47"/>
                    <a:pt x="85" y="45"/>
                  </a:cubicBezTo>
                  <a:cubicBezTo>
                    <a:pt x="87" y="45"/>
                    <a:pt x="91" y="47"/>
                    <a:pt x="90" y="42"/>
                  </a:cubicBezTo>
                  <a:cubicBezTo>
                    <a:pt x="76" y="40"/>
                    <a:pt x="59" y="41"/>
                    <a:pt x="44" y="41"/>
                  </a:cubicBezTo>
                  <a:cubicBezTo>
                    <a:pt x="44" y="41"/>
                    <a:pt x="44" y="41"/>
                    <a:pt x="44" y="42"/>
                  </a:cubicBezTo>
                  <a:moveTo>
                    <a:pt x="139" y="42"/>
                  </a:moveTo>
                  <a:cubicBezTo>
                    <a:pt x="139" y="45"/>
                    <a:pt x="139" y="45"/>
                    <a:pt x="139" y="45"/>
                  </a:cubicBezTo>
                  <a:cubicBezTo>
                    <a:pt x="147" y="45"/>
                    <a:pt x="151" y="47"/>
                    <a:pt x="152" y="56"/>
                  </a:cubicBezTo>
                  <a:cubicBezTo>
                    <a:pt x="153" y="66"/>
                    <a:pt x="152" y="78"/>
                    <a:pt x="152" y="93"/>
                  </a:cubicBezTo>
                  <a:cubicBezTo>
                    <a:pt x="152" y="106"/>
                    <a:pt x="153" y="120"/>
                    <a:pt x="152" y="130"/>
                  </a:cubicBezTo>
                  <a:cubicBezTo>
                    <a:pt x="152" y="132"/>
                    <a:pt x="151" y="136"/>
                    <a:pt x="151" y="137"/>
                  </a:cubicBezTo>
                  <a:cubicBezTo>
                    <a:pt x="148" y="140"/>
                    <a:pt x="139" y="140"/>
                    <a:pt x="139" y="142"/>
                  </a:cubicBezTo>
                  <a:cubicBezTo>
                    <a:pt x="138" y="143"/>
                    <a:pt x="139" y="143"/>
                    <a:pt x="139" y="144"/>
                  </a:cubicBezTo>
                  <a:cubicBezTo>
                    <a:pt x="146" y="146"/>
                    <a:pt x="162" y="145"/>
                    <a:pt x="173" y="145"/>
                  </a:cubicBezTo>
                  <a:cubicBezTo>
                    <a:pt x="177" y="145"/>
                    <a:pt x="186" y="147"/>
                    <a:pt x="184" y="141"/>
                  </a:cubicBezTo>
                  <a:cubicBezTo>
                    <a:pt x="181" y="140"/>
                    <a:pt x="175" y="140"/>
                    <a:pt x="173" y="138"/>
                  </a:cubicBezTo>
                  <a:cubicBezTo>
                    <a:pt x="170" y="135"/>
                    <a:pt x="170" y="124"/>
                    <a:pt x="170" y="118"/>
                  </a:cubicBezTo>
                  <a:cubicBezTo>
                    <a:pt x="170" y="94"/>
                    <a:pt x="170" y="94"/>
                    <a:pt x="170" y="94"/>
                  </a:cubicBezTo>
                  <a:cubicBezTo>
                    <a:pt x="170" y="82"/>
                    <a:pt x="167" y="53"/>
                    <a:pt x="173" y="48"/>
                  </a:cubicBezTo>
                  <a:cubicBezTo>
                    <a:pt x="176" y="44"/>
                    <a:pt x="186" y="47"/>
                    <a:pt x="184" y="41"/>
                  </a:cubicBezTo>
                  <a:cubicBezTo>
                    <a:pt x="170" y="40"/>
                    <a:pt x="154" y="41"/>
                    <a:pt x="139" y="41"/>
                  </a:cubicBezTo>
                  <a:cubicBezTo>
                    <a:pt x="139" y="41"/>
                    <a:pt x="139" y="41"/>
                    <a:pt x="139" y="42"/>
                  </a:cubicBezTo>
                  <a:moveTo>
                    <a:pt x="397" y="45"/>
                  </a:moveTo>
                  <a:cubicBezTo>
                    <a:pt x="410" y="44"/>
                    <a:pt x="410" y="53"/>
                    <a:pt x="411" y="67"/>
                  </a:cubicBezTo>
                  <a:cubicBezTo>
                    <a:pt x="411" y="83"/>
                    <a:pt x="411" y="99"/>
                    <a:pt x="411" y="115"/>
                  </a:cubicBezTo>
                  <a:cubicBezTo>
                    <a:pt x="411" y="123"/>
                    <a:pt x="411" y="134"/>
                    <a:pt x="408" y="137"/>
                  </a:cubicBezTo>
                  <a:cubicBezTo>
                    <a:pt x="405" y="141"/>
                    <a:pt x="398" y="139"/>
                    <a:pt x="395" y="141"/>
                  </a:cubicBezTo>
                  <a:cubicBezTo>
                    <a:pt x="395" y="144"/>
                    <a:pt x="395" y="144"/>
                    <a:pt x="395" y="144"/>
                  </a:cubicBezTo>
                  <a:cubicBezTo>
                    <a:pt x="421" y="145"/>
                    <a:pt x="448" y="145"/>
                    <a:pt x="474" y="145"/>
                  </a:cubicBezTo>
                  <a:cubicBezTo>
                    <a:pt x="476" y="137"/>
                    <a:pt x="478" y="128"/>
                    <a:pt x="479" y="119"/>
                  </a:cubicBezTo>
                  <a:cubicBezTo>
                    <a:pt x="473" y="116"/>
                    <a:pt x="473" y="123"/>
                    <a:pt x="471" y="127"/>
                  </a:cubicBezTo>
                  <a:cubicBezTo>
                    <a:pt x="467" y="136"/>
                    <a:pt x="460" y="139"/>
                    <a:pt x="447" y="139"/>
                  </a:cubicBezTo>
                  <a:cubicBezTo>
                    <a:pt x="444" y="139"/>
                    <a:pt x="436" y="139"/>
                    <a:pt x="432" y="137"/>
                  </a:cubicBezTo>
                  <a:cubicBezTo>
                    <a:pt x="428" y="135"/>
                    <a:pt x="428" y="125"/>
                    <a:pt x="428" y="118"/>
                  </a:cubicBezTo>
                  <a:cubicBezTo>
                    <a:pt x="428" y="109"/>
                    <a:pt x="428" y="101"/>
                    <a:pt x="428" y="94"/>
                  </a:cubicBezTo>
                  <a:cubicBezTo>
                    <a:pt x="437" y="96"/>
                    <a:pt x="449" y="92"/>
                    <a:pt x="455" y="96"/>
                  </a:cubicBezTo>
                  <a:cubicBezTo>
                    <a:pt x="458" y="99"/>
                    <a:pt x="456" y="104"/>
                    <a:pt x="459" y="108"/>
                  </a:cubicBezTo>
                  <a:cubicBezTo>
                    <a:pt x="463" y="108"/>
                    <a:pt x="463" y="108"/>
                    <a:pt x="463" y="108"/>
                  </a:cubicBezTo>
                  <a:cubicBezTo>
                    <a:pt x="463" y="74"/>
                    <a:pt x="463" y="74"/>
                    <a:pt x="463" y="74"/>
                  </a:cubicBezTo>
                  <a:cubicBezTo>
                    <a:pt x="458" y="74"/>
                    <a:pt x="458" y="74"/>
                    <a:pt x="458" y="74"/>
                  </a:cubicBezTo>
                  <a:cubicBezTo>
                    <a:pt x="457" y="79"/>
                    <a:pt x="458" y="84"/>
                    <a:pt x="454" y="86"/>
                  </a:cubicBezTo>
                  <a:cubicBezTo>
                    <a:pt x="448" y="89"/>
                    <a:pt x="436" y="86"/>
                    <a:pt x="428" y="87"/>
                  </a:cubicBezTo>
                  <a:cubicBezTo>
                    <a:pt x="429" y="76"/>
                    <a:pt x="426" y="57"/>
                    <a:pt x="430" y="47"/>
                  </a:cubicBezTo>
                  <a:cubicBezTo>
                    <a:pt x="441" y="48"/>
                    <a:pt x="453" y="45"/>
                    <a:pt x="460" y="50"/>
                  </a:cubicBezTo>
                  <a:cubicBezTo>
                    <a:pt x="465" y="53"/>
                    <a:pt x="464" y="60"/>
                    <a:pt x="468" y="65"/>
                  </a:cubicBezTo>
                  <a:cubicBezTo>
                    <a:pt x="469" y="66"/>
                    <a:pt x="469" y="65"/>
                    <a:pt x="471" y="65"/>
                  </a:cubicBezTo>
                  <a:cubicBezTo>
                    <a:pt x="471" y="58"/>
                    <a:pt x="470" y="48"/>
                    <a:pt x="469" y="41"/>
                  </a:cubicBezTo>
                  <a:cubicBezTo>
                    <a:pt x="397" y="41"/>
                    <a:pt x="397" y="41"/>
                    <a:pt x="397" y="41"/>
                  </a:cubicBezTo>
                  <a:cubicBezTo>
                    <a:pt x="396" y="41"/>
                    <a:pt x="397" y="44"/>
                    <a:pt x="397" y="45"/>
                  </a:cubicBezTo>
                  <a:moveTo>
                    <a:pt x="495" y="42"/>
                  </a:moveTo>
                  <a:cubicBezTo>
                    <a:pt x="495" y="45"/>
                    <a:pt x="495" y="45"/>
                    <a:pt x="495" y="45"/>
                  </a:cubicBezTo>
                  <a:cubicBezTo>
                    <a:pt x="498" y="46"/>
                    <a:pt x="504" y="45"/>
                    <a:pt x="506" y="48"/>
                  </a:cubicBezTo>
                  <a:cubicBezTo>
                    <a:pt x="509" y="52"/>
                    <a:pt x="508" y="62"/>
                    <a:pt x="508" y="70"/>
                  </a:cubicBezTo>
                  <a:cubicBezTo>
                    <a:pt x="508" y="117"/>
                    <a:pt x="508" y="117"/>
                    <a:pt x="508" y="117"/>
                  </a:cubicBezTo>
                  <a:cubicBezTo>
                    <a:pt x="508" y="131"/>
                    <a:pt x="509" y="138"/>
                    <a:pt x="499" y="140"/>
                  </a:cubicBezTo>
                  <a:cubicBezTo>
                    <a:pt x="498" y="141"/>
                    <a:pt x="493" y="139"/>
                    <a:pt x="494" y="143"/>
                  </a:cubicBezTo>
                  <a:cubicBezTo>
                    <a:pt x="494" y="146"/>
                    <a:pt x="495" y="145"/>
                    <a:pt x="497" y="145"/>
                  </a:cubicBezTo>
                  <a:cubicBezTo>
                    <a:pt x="508" y="146"/>
                    <a:pt x="523" y="145"/>
                    <a:pt x="533" y="145"/>
                  </a:cubicBezTo>
                  <a:cubicBezTo>
                    <a:pt x="573" y="145"/>
                    <a:pt x="602" y="127"/>
                    <a:pt x="601" y="88"/>
                  </a:cubicBezTo>
                  <a:cubicBezTo>
                    <a:pt x="601" y="71"/>
                    <a:pt x="593" y="58"/>
                    <a:pt x="584" y="51"/>
                  </a:cubicBezTo>
                  <a:cubicBezTo>
                    <a:pt x="564" y="37"/>
                    <a:pt x="530" y="42"/>
                    <a:pt x="496" y="41"/>
                  </a:cubicBezTo>
                  <a:cubicBezTo>
                    <a:pt x="495" y="41"/>
                    <a:pt x="495" y="41"/>
                    <a:pt x="495" y="42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21"/>
            <p:cNvSpPr>
              <a:spLocks/>
            </p:cNvSpPr>
            <p:nvPr userDrawn="1"/>
          </p:nvSpPr>
          <p:spPr bwMode="auto">
            <a:xfrm>
              <a:off x="3311" y="1478"/>
              <a:ext cx="135" cy="229"/>
            </a:xfrm>
            <a:custGeom>
              <a:avLst/>
              <a:gdLst>
                <a:gd name="T0" fmla="*/ 3 w 57"/>
                <a:gd name="T1" fmla="*/ 6 h 97"/>
                <a:gd name="T2" fmla="*/ 57 w 57"/>
                <a:gd name="T3" fmla="*/ 51 h 97"/>
                <a:gd name="T4" fmla="*/ 22 w 57"/>
                <a:gd name="T5" fmla="*/ 97 h 97"/>
                <a:gd name="T6" fmla="*/ 6 w 57"/>
                <a:gd name="T7" fmla="*/ 94 h 97"/>
                <a:gd name="T8" fmla="*/ 2 w 57"/>
                <a:gd name="T9" fmla="*/ 51 h 97"/>
                <a:gd name="T10" fmla="*/ 3 w 57"/>
                <a:gd name="T11" fmla="*/ 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97">
                  <a:moveTo>
                    <a:pt x="3" y="6"/>
                  </a:moveTo>
                  <a:cubicBezTo>
                    <a:pt x="38" y="0"/>
                    <a:pt x="57" y="18"/>
                    <a:pt x="57" y="51"/>
                  </a:cubicBezTo>
                  <a:cubicBezTo>
                    <a:pt x="57" y="74"/>
                    <a:pt x="46" y="94"/>
                    <a:pt x="22" y="97"/>
                  </a:cubicBezTo>
                  <a:cubicBezTo>
                    <a:pt x="16" y="97"/>
                    <a:pt x="9" y="97"/>
                    <a:pt x="6" y="94"/>
                  </a:cubicBezTo>
                  <a:cubicBezTo>
                    <a:pt x="0" y="89"/>
                    <a:pt x="2" y="62"/>
                    <a:pt x="2" y="51"/>
                  </a:cubicBezTo>
                  <a:cubicBezTo>
                    <a:pt x="2" y="35"/>
                    <a:pt x="1" y="20"/>
                    <a:pt x="3" y="6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22"/>
            <p:cNvSpPr>
              <a:spLocks/>
            </p:cNvSpPr>
            <p:nvPr userDrawn="1"/>
          </p:nvSpPr>
          <p:spPr bwMode="auto">
            <a:xfrm>
              <a:off x="2914" y="1903"/>
              <a:ext cx="321" cy="501"/>
            </a:xfrm>
            <a:custGeom>
              <a:avLst/>
              <a:gdLst>
                <a:gd name="T0" fmla="*/ 123 w 136"/>
                <a:gd name="T1" fmla="*/ 13 h 212"/>
                <a:gd name="T2" fmla="*/ 123 w 136"/>
                <a:gd name="T3" fmla="*/ 43 h 212"/>
                <a:gd name="T4" fmla="*/ 46 w 136"/>
                <a:gd name="T5" fmla="*/ 44 h 212"/>
                <a:gd name="T6" fmla="*/ 44 w 136"/>
                <a:gd name="T7" fmla="*/ 64 h 212"/>
                <a:gd name="T8" fmla="*/ 75 w 136"/>
                <a:gd name="T9" fmla="*/ 85 h 212"/>
                <a:gd name="T10" fmla="*/ 132 w 136"/>
                <a:gd name="T11" fmla="*/ 133 h 212"/>
                <a:gd name="T12" fmla="*/ 129 w 136"/>
                <a:gd name="T13" fmla="*/ 176 h 212"/>
                <a:gd name="T14" fmla="*/ 77 w 136"/>
                <a:gd name="T15" fmla="*/ 209 h 212"/>
                <a:gd name="T16" fmla="*/ 5 w 136"/>
                <a:gd name="T17" fmla="*/ 200 h 212"/>
                <a:gd name="T18" fmla="*/ 5 w 136"/>
                <a:gd name="T19" fmla="*/ 170 h 212"/>
                <a:gd name="T20" fmla="*/ 90 w 136"/>
                <a:gd name="T21" fmla="*/ 166 h 212"/>
                <a:gd name="T22" fmla="*/ 91 w 136"/>
                <a:gd name="T23" fmla="*/ 146 h 212"/>
                <a:gd name="T24" fmla="*/ 51 w 136"/>
                <a:gd name="T25" fmla="*/ 119 h 212"/>
                <a:gd name="T26" fmla="*/ 2 w 136"/>
                <a:gd name="T27" fmla="*/ 57 h 212"/>
                <a:gd name="T28" fmla="*/ 24 w 136"/>
                <a:gd name="T29" fmla="*/ 18 h 212"/>
                <a:gd name="T30" fmla="*/ 123 w 136"/>
                <a:gd name="T31" fmla="*/ 1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6" h="212">
                  <a:moveTo>
                    <a:pt x="123" y="13"/>
                  </a:moveTo>
                  <a:cubicBezTo>
                    <a:pt x="123" y="43"/>
                    <a:pt x="123" y="43"/>
                    <a:pt x="123" y="43"/>
                  </a:cubicBezTo>
                  <a:cubicBezTo>
                    <a:pt x="104" y="36"/>
                    <a:pt x="59" y="24"/>
                    <a:pt x="46" y="44"/>
                  </a:cubicBezTo>
                  <a:cubicBezTo>
                    <a:pt x="43" y="49"/>
                    <a:pt x="42" y="57"/>
                    <a:pt x="44" y="64"/>
                  </a:cubicBezTo>
                  <a:cubicBezTo>
                    <a:pt x="48" y="74"/>
                    <a:pt x="64" y="80"/>
                    <a:pt x="75" y="85"/>
                  </a:cubicBezTo>
                  <a:cubicBezTo>
                    <a:pt x="99" y="96"/>
                    <a:pt x="124" y="106"/>
                    <a:pt x="132" y="133"/>
                  </a:cubicBezTo>
                  <a:cubicBezTo>
                    <a:pt x="136" y="145"/>
                    <a:pt x="135" y="163"/>
                    <a:pt x="129" y="176"/>
                  </a:cubicBezTo>
                  <a:cubicBezTo>
                    <a:pt x="120" y="194"/>
                    <a:pt x="100" y="206"/>
                    <a:pt x="77" y="209"/>
                  </a:cubicBezTo>
                  <a:cubicBezTo>
                    <a:pt x="52" y="212"/>
                    <a:pt x="27" y="207"/>
                    <a:pt x="5" y="200"/>
                  </a:cubicBezTo>
                  <a:cubicBezTo>
                    <a:pt x="5" y="170"/>
                    <a:pt x="5" y="170"/>
                    <a:pt x="5" y="170"/>
                  </a:cubicBezTo>
                  <a:cubicBezTo>
                    <a:pt x="27" y="178"/>
                    <a:pt x="79" y="190"/>
                    <a:pt x="90" y="166"/>
                  </a:cubicBezTo>
                  <a:cubicBezTo>
                    <a:pt x="93" y="161"/>
                    <a:pt x="94" y="153"/>
                    <a:pt x="91" y="146"/>
                  </a:cubicBezTo>
                  <a:cubicBezTo>
                    <a:pt x="86" y="133"/>
                    <a:pt x="64" y="126"/>
                    <a:pt x="51" y="119"/>
                  </a:cubicBezTo>
                  <a:cubicBezTo>
                    <a:pt x="26" y="107"/>
                    <a:pt x="0" y="94"/>
                    <a:pt x="2" y="57"/>
                  </a:cubicBezTo>
                  <a:cubicBezTo>
                    <a:pt x="3" y="38"/>
                    <a:pt x="12" y="27"/>
                    <a:pt x="24" y="18"/>
                  </a:cubicBezTo>
                  <a:cubicBezTo>
                    <a:pt x="47" y="2"/>
                    <a:pt x="94" y="0"/>
                    <a:pt x="123" y="13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23"/>
            <p:cNvSpPr>
              <a:spLocks/>
            </p:cNvSpPr>
            <p:nvPr userDrawn="1"/>
          </p:nvSpPr>
          <p:spPr bwMode="auto">
            <a:xfrm>
              <a:off x="2074" y="1920"/>
              <a:ext cx="377" cy="472"/>
            </a:xfrm>
            <a:custGeom>
              <a:avLst/>
              <a:gdLst>
                <a:gd name="T0" fmla="*/ 0 w 160"/>
                <a:gd name="T1" fmla="*/ 0 h 200"/>
                <a:gd name="T2" fmla="*/ 60 w 160"/>
                <a:gd name="T3" fmla="*/ 0 h 200"/>
                <a:gd name="T4" fmla="*/ 122 w 160"/>
                <a:gd name="T5" fmla="*/ 144 h 200"/>
                <a:gd name="T6" fmla="*/ 123 w 160"/>
                <a:gd name="T7" fmla="*/ 0 h 200"/>
                <a:gd name="T8" fmla="*/ 160 w 160"/>
                <a:gd name="T9" fmla="*/ 0 h 200"/>
                <a:gd name="T10" fmla="*/ 160 w 160"/>
                <a:gd name="T11" fmla="*/ 200 h 200"/>
                <a:gd name="T12" fmla="*/ 107 w 160"/>
                <a:gd name="T13" fmla="*/ 200 h 200"/>
                <a:gd name="T14" fmla="*/ 37 w 160"/>
                <a:gd name="T15" fmla="*/ 43 h 200"/>
                <a:gd name="T16" fmla="*/ 37 w 160"/>
                <a:gd name="T17" fmla="*/ 200 h 200"/>
                <a:gd name="T18" fmla="*/ 0 w 160"/>
                <a:gd name="T19" fmla="*/ 200 h 200"/>
                <a:gd name="T20" fmla="*/ 0 w 160"/>
                <a:gd name="T21" fmla="*/ 1 h 200"/>
                <a:gd name="T22" fmla="*/ 0 w 160"/>
                <a:gd name="T23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0" h="200">
                  <a:moveTo>
                    <a:pt x="0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81" y="48"/>
                    <a:pt x="102" y="95"/>
                    <a:pt x="122" y="144"/>
                  </a:cubicBezTo>
                  <a:cubicBezTo>
                    <a:pt x="123" y="97"/>
                    <a:pt x="123" y="48"/>
                    <a:pt x="123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60" y="200"/>
                    <a:pt x="160" y="200"/>
                    <a:pt x="160" y="200"/>
                  </a:cubicBezTo>
                  <a:cubicBezTo>
                    <a:pt x="107" y="200"/>
                    <a:pt x="107" y="200"/>
                    <a:pt x="107" y="200"/>
                  </a:cubicBezTo>
                  <a:cubicBezTo>
                    <a:pt x="83" y="149"/>
                    <a:pt x="61" y="95"/>
                    <a:pt x="37" y="43"/>
                  </a:cubicBezTo>
                  <a:cubicBezTo>
                    <a:pt x="37" y="200"/>
                    <a:pt x="37" y="200"/>
                    <a:pt x="37" y="200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24"/>
            <p:cNvSpPr>
              <a:spLocks/>
            </p:cNvSpPr>
            <p:nvPr userDrawn="1"/>
          </p:nvSpPr>
          <p:spPr bwMode="auto">
            <a:xfrm>
              <a:off x="2489" y="1920"/>
              <a:ext cx="416" cy="472"/>
            </a:xfrm>
            <a:custGeom>
              <a:avLst/>
              <a:gdLst>
                <a:gd name="T0" fmla="*/ 48 w 176"/>
                <a:gd name="T1" fmla="*/ 0 h 200"/>
                <a:gd name="T2" fmla="*/ 92 w 176"/>
                <a:gd name="T3" fmla="*/ 88 h 200"/>
                <a:gd name="T4" fmla="*/ 136 w 176"/>
                <a:gd name="T5" fmla="*/ 0 h 200"/>
                <a:gd name="T6" fmla="*/ 176 w 176"/>
                <a:gd name="T7" fmla="*/ 0 h 200"/>
                <a:gd name="T8" fmla="*/ 117 w 176"/>
                <a:gd name="T9" fmla="*/ 109 h 200"/>
                <a:gd name="T10" fmla="*/ 109 w 176"/>
                <a:gd name="T11" fmla="*/ 125 h 200"/>
                <a:gd name="T12" fmla="*/ 109 w 176"/>
                <a:gd name="T13" fmla="*/ 144 h 200"/>
                <a:gd name="T14" fmla="*/ 109 w 176"/>
                <a:gd name="T15" fmla="*/ 200 h 200"/>
                <a:gd name="T16" fmla="*/ 66 w 176"/>
                <a:gd name="T17" fmla="*/ 200 h 200"/>
                <a:gd name="T18" fmla="*/ 66 w 176"/>
                <a:gd name="T19" fmla="*/ 143 h 200"/>
                <a:gd name="T20" fmla="*/ 66 w 176"/>
                <a:gd name="T21" fmla="*/ 124 h 200"/>
                <a:gd name="T22" fmla="*/ 58 w 176"/>
                <a:gd name="T23" fmla="*/ 108 h 200"/>
                <a:gd name="T24" fmla="*/ 1 w 176"/>
                <a:gd name="T25" fmla="*/ 0 h 200"/>
                <a:gd name="T26" fmla="*/ 2 w 176"/>
                <a:gd name="T27" fmla="*/ 0 h 200"/>
                <a:gd name="T28" fmla="*/ 48 w 176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6" h="200">
                  <a:moveTo>
                    <a:pt x="48" y="0"/>
                  </a:moveTo>
                  <a:cubicBezTo>
                    <a:pt x="63" y="29"/>
                    <a:pt x="77" y="58"/>
                    <a:pt x="92" y="88"/>
                  </a:cubicBezTo>
                  <a:cubicBezTo>
                    <a:pt x="107" y="59"/>
                    <a:pt x="121" y="29"/>
                    <a:pt x="136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57" y="36"/>
                    <a:pt x="137" y="72"/>
                    <a:pt x="117" y="109"/>
                  </a:cubicBezTo>
                  <a:cubicBezTo>
                    <a:pt x="115" y="114"/>
                    <a:pt x="110" y="120"/>
                    <a:pt x="109" y="125"/>
                  </a:cubicBezTo>
                  <a:cubicBezTo>
                    <a:pt x="108" y="130"/>
                    <a:pt x="109" y="137"/>
                    <a:pt x="109" y="144"/>
                  </a:cubicBezTo>
                  <a:cubicBezTo>
                    <a:pt x="109" y="200"/>
                    <a:pt x="109" y="200"/>
                    <a:pt x="109" y="200"/>
                  </a:cubicBezTo>
                  <a:cubicBezTo>
                    <a:pt x="66" y="200"/>
                    <a:pt x="66" y="200"/>
                    <a:pt x="66" y="200"/>
                  </a:cubicBezTo>
                  <a:cubicBezTo>
                    <a:pt x="66" y="143"/>
                    <a:pt x="66" y="143"/>
                    <a:pt x="66" y="143"/>
                  </a:cubicBezTo>
                  <a:cubicBezTo>
                    <a:pt x="66" y="137"/>
                    <a:pt x="67" y="130"/>
                    <a:pt x="66" y="124"/>
                  </a:cubicBezTo>
                  <a:cubicBezTo>
                    <a:pt x="66" y="120"/>
                    <a:pt x="61" y="113"/>
                    <a:pt x="58" y="108"/>
                  </a:cubicBezTo>
                  <a:cubicBezTo>
                    <a:pt x="39" y="73"/>
                    <a:pt x="19" y="36"/>
                    <a:pt x="1" y="0"/>
                  </a:cubicBezTo>
                  <a:cubicBezTo>
                    <a:pt x="0" y="0"/>
                    <a:pt x="2" y="0"/>
                    <a:pt x="2" y="0"/>
                  </a:cubicBez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25"/>
            <p:cNvSpPr>
              <a:spLocks/>
            </p:cNvSpPr>
            <p:nvPr userDrawn="1"/>
          </p:nvSpPr>
          <p:spPr bwMode="auto">
            <a:xfrm>
              <a:off x="3304" y="1918"/>
              <a:ext cx="297" cy="474"/>
            </a:xfrm>
            <a:custGeom>
              <a:avLst/>
              <a:gdLst>
                <a:gd name="T0" fmla="*/ 1 w 126"/>
                <a:gd name="T1" fmla="*/ 1 h 201"/>
                <a:gd name="T2" fmla="*/ 122 w 126"/>
                <a:gd name="T3" fmla="*/ 1 h 201"/>
                <a:gd name="T4" fmla="*/ 122 w 126"/>
                <a:gd name="T5" fmla="*/ 29 h 201"/>
                <a:gd name="T6" fmla="*/ 42 w 126"/>
                <a:gd name="T7" fmla="*/ 30 h 201"/>
                <a:gd name="T8" fmla="*/ 41 w 126"/>
                <a:gd name="T9" fmla="*/ 83 h 201"/>
                <a:gd name="T10" fmla="*/ 115 w 126"/>
                <a:gd name="T11" fmla="*/ 83 h 201"/>
                <a:gd name="T12" fmla="*/ 115 w 126"/>
                <a:gd name="T13" fmla="*/ 112 h 201"/>
                <a:gd name="T14" fmla="*/ 42 w 126"/>
                <a:gd name="T15" fmla="*/ 112 h 201"/>
                <a:gd name="T16" fmla="*/ 41 w 126"/>
                <a:gd name="T17" fmla="*/ 173 h 201"/>
                <a:gd name="T18" fmla="*/ 125 w 126"/>
                <a:gd name="T19" fmla="*/ 173 h 201"/>
                <a:gd name="T20" fmla="*/ 125 w 126"/>
                <a:gd name="T21" fmla="*/ 201 h 201"/>
                <a:gd name="T22" fmla="*/ 1 w 126"/>
                <a:gd name="T23" fmla="*/ 201 h 201"/>
                <a:gd name="T24" fmla="*/ 1 w 126"/>
                <a:gd name="T25" fmla="*/ 2 h 201"/>
                <a:gd name="T26" fmla="*/ 1 w 126"/>
                <a:gd name="T27" fmla="*/ 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6" h="201">
                  <a:moveTo>
                    <a:pt x="1" y="1"/>
                  </a:moveTo>
                  <a:cubicBezTo>
                    <a:pt x="41" y="1"/>
                    <a:pt x="82" y="0"/>
                    <a:pt x="122" y="1"/>
                  </a:cubicBezTo>
                  <a:cubicBezTo>
                    <a:pt x="122" y="29"/>
                    <a:pt x="122" y="29"/>
                    <a:pt x="122" y="29"/>
                  </a:cubicBezTo>
                  <a:cubicBezTo>
                    <a:pt x="96" y="30"/>
                    <a:pt x="69" y="29"/>
                    <a:pt x="42" y="30"/>
                  </a:cubicBezTo>
                  <a:cubicBezTo>
                    <a:pt x="41" y="46"/>
                    <a:pt x="43" y="66"/>
                    <a:pt x="41" y="83"/>
                  </a:cubicBezTo>
                  <a:cubicBezTo>
                    <a:pt x="65" y="84"/>
                    <a:pt x="90" y="83"/>
                    <a:pt x="115" y="83"/>
                  </a:cubicBezTo>
                  <a:cubicBezTo>
                    <a:pt x="115" y="112"/>
                    <a:pt x="115" y="112"/>
                    <a:pt x="115" y="112"/>
                  </a:cubicBezTo>
                  <a:cubicBezTo>
                    <a:pt x="42" y="112"/>
                    <a:pt x="42" y="112"/>
                    <a:pt x="42" y="112"/>
                  </a:cubicBezTo>
                  <a:cubicBezTo>
                    <a:pt x="41" y="131"/>
                    <a:pt x="43" y="154"/>
                    <a:pt x="41" y="173"/>
                  </a:cubicBezTo>
                  <a:cubicBezTo>
                    <a:pt x="125" y="173"/>
                    <a:pt x="125" y="173"/>
                    <a:pt x="125" y="173"/>
                  </a:cubicBezTo>
                  <a:cubicBezTo>
                    <a:pt x="126" y="181"/>
                    <a:pt x="125" y="192"/>
                    <a:pt x="125" y="201"/>
                  </a:cubicBezTo>
                  <a:cubicBezTo>
                    <a:pt x="1" y="201"/>
                    <a:pt x="1" y="201"/>
                    <a:pt x="1" y="20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0" y="1"/>
                    <a:pt x="1" y="1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26"/>
            <p:cNvSpPr>
              <a:spLocks noEditPoints="1"/>
            </p:cNvSpPr>
            <p:nvPr userDrawn="1"/>
          </p:nvSpPr>
          <p:spPr bwMode="auto">
            <a:xfrm>
              <a:off x="3606" y="2322"/>
              <a:ext cx="83" cy="82"/>
            </a:xfrm>
            <a:custGeom>
              <a:avLst/>
              <a:gdLst>
                <a:gd name="T0" fmla="*/ 14 w 35"/>
                <a:gd name="T1" fmla="*/ 2 h 35"/>
                <a:gd name="T2" fmla="*/ 32 w 35"/>
                <a:gd name="T3" fmla="*/ 16 h 35"/>
                <a:gd name="T4" fmla="*/ 4 w 35"/>
                <a:gd name="T5" fmla="*/ 22 h 35"/>
                <a:gd name="T6" fmla="*/ 14 w 35"/>
                <a:gd name="T7" fmla="*/ 2 h 35"/>
                <a:gd name="T8" fmla="*/ 6 w 35"/>
                <a:gd name="T9" fmla="*/ 20 h 35"/>
                <a:gd name="T10" fmla="*/ 28 w 35"/>
                <a:gd name="T11" fmla="*/ 10 h 35"/>
                <a:gd name="T12" fmla="*/ 15 w 35"/>
                <a:gd name="T13" fmla="*/ 4 h 35"/>
                <a:gd name="T14" fmla="*/ 6 w 35"/>
                <a:gd name="T15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35">
                  <a:moveTo>
                    <a:pt x="14" y="2"/>
                  </a:moveTo>
                  <a:cubicBezTo>
                    <a:pt x="24" y="0"/>
                    <a:pt x="32" y="7"/>
                    <a:pt x="32" y="16"/>
                  </a:cubicBezTo>
                  <a:cubicBezTo>
                    <a:pt x="31" y="31"/>
                    <a:pt x="10" y="35"/>
                    <a:pt x="4" y="22"/>
                  </a:cubicBezTo>
                  <a:cubicBezTo>
                    <a:pt x="0" y="13"/>
                    <a:pt x="4" y="4"/>
                    <a:pt x="14" y="2"/>
                  </a:cubicBezTo>
                  <a:moveTo>
                    <a:pt x="6" y="20"/>
                  </a:moveTo>
                  <a:cubicBezTo>
                    <a:pt x="11" y="34"/>
                    <a:pt x="35" y="26"/>
                    <a:pt x="28" y="10"/>
                  </a:cubicBezTo>
                  <a:cubicBezTo>
                    <a:pt x="26" y="6"/>
                    <a:pt x="21" y="3"/>
                    <a:pt x="15" y="4"/>
                  </a:cubicBezTo>
                  <a:cubicBezTo>
                    <a:pt x="8" y="6"/>
                    <a:pt x="4" y="13"/>
                    <a:pt x="6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27"/>
            <p:cNvSpPr>
              <a:spLocks noEditPoints="1"/>
            </p:cNvSpPr>
            <p:nvPr userDrawn="1"/>
          </p:nvSpPr>
          <p:spPr bwMode="auto">
            <a:xfrm>
              <a:off x="3632" y="2338"/>
              <a:ext cx="33" cy="45"/>
            </a:xfrm>
            <a:custGeom>
              <a:avLst/>
              <a:gdLst>
                <a:gd name="T0" fmla="*/ 1 w 14"/>
                <a:gd name="T1" fmla="*/ 0 h 19"/>
                <a:gd name="T2" fmla="*/ 12 w 14"/>
                <a:gd name="T3" fmla="*/ 2 h 19"/>
                <a:gd name="T4" fmla="*/ 9 w 14"/>
                <a:gd name="T5" fmla="*/ 10 h 19"/>
                <a:gd name="T6" fmla="*/ 13 w 14"/>
                <a:gd name="T7" fmla="*/ 16 h 19"/>
                <a:gd name="T8" fmla="*/ 4 w 14"/>
                <a:gd name="T9" fmla="*/ 10 h 19"/>
                <a:gd name="T10" fmla="*/ 3 w 14"/>
                <a:gd name="T11" fmla="*/ 17 h 19"/>
                <a:gd name="T12" fmla="*/ 0 w 14"/>
                <a:gd name="T13" fmla="*/ 17 h 19"/>
                <a:gd name="T14" fmla="*/ 1 w 14"/>
                <a:gd name="T15" fmla="*/ 0 h 19"/>
                <a:gd name="T16" fmla="*/ 3 w 14"/>
                <a:gd name="T17" fmla="*/ 8 h 19"/>
                <a:gd name="T18" fmla="*/ 10 w 14"/>
                <a:gd name="T19" fmla="*/ 4 h 19"/>
                <a:gd name="T20" fmla="*/ 3 w 14"/>
                <a:gd name="T21" fmla="*/ 2 h 19"/>
                <a:gd name="T22" fmla="*/ 3 w 14"/>
                <a:gd name="T2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9">
                  <a:moveTo>
                    <a:pt x="1" y="0"/>
                  </a:moveTo>
                  <a:cubicBezTo>
                    <a:pt x="5" y="0"/>
                    <a:pt x="9" y="0"/>
                    <a:pt x="12" y="2"/>
                  </a:cubicBezTo>
                  <a:cubicBezTo>
                    <a:pt x="14" y="5"/>
                    <a:pt x="13" y="10"/>
                    <a:pt x="9" y="10"/>
                  </a:cubicBezTo>
                  <a:cubicBezTo>
                    <a:pt x="10" y="12"/>
                    <a:pt x="12" y="14"/>
                    <a:pt x="13" y="16"/>
                  </a:cubicBezTo>
                  <a:cubicBezTo>
                    <a:pt x="7" y="19"/>
                    <a:pt x="9" y="9"/>
                    <a:pt x="4" y="10"/>
                  </a:cubicBezTo>
                  <a:cubicBezTo>
                    <a:pt x="3" y="11"/>
                    <a:pt x="4" y="15"/>
                    <a:pt x="3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" y="12"/>
                    <a:pt x="0" y="4"/>
                    <a:pt x="1" y="0"/>
                  </a:cubicBezTo>
                  <a:moveTo>
                    <a:pt x="3" y="8"/>
                  </a:moveTo>
                  <a:cubicBezTo>
                    <a:pt x="7" y="8"/>
                    <a:pt x="11" y="8"/>
                    <a:pt x="10" y="4"/>
                  </a:cubicBezTo>
                  <a:cubicBezTo>
                    <a:pt x="9" y="2"/>
                    <a:pt x="6" y="2"/>
                    <a:pt x="3" y="2"/>
                  </a:cubicBezTo>
                  <a:lnTo>
                    <a:pt x="3" y="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28"/>
            <p:cNvSpPr>
              <a:spLocks/>
            </p:cNvSpPr>
            <p:nvPr userDrawn="1"/>
          </p:nvSpPr>
          <p:spPr bwMode="auto">
            <a:xfrm>
              <a:off x="2099" y="847"/>
              <a:ext cx="303" cy="428"/>
            </a:xfrm>
            <a:custGeom>
              <a:avLst/>
              <a:gdLst>
                <a:gd name="T0" fmla="*/ 0 w 303"/>
                <a:gd name="T1" fmla="*/ 428 h 428"/>
                <a:gd name="T2" fmla="*/ 0 w 303"/>
                <a:gd name="T3" fmla="*/ 0 h 428"/>
                <a:gd name="T4" fmla="*/ 88 w 303"/>
                <a:gd name="T5" fmla="*/ 0 h 428"/>
                <a:gd name="T6" fmla="*/ 88 w 303"/>
                <a:gd name="T7" fmla="*/ 355 h 428"/>
                <a:gd name="T8" fmla="*/ 303 w 303"/>
                <a:gd name="T9" fmla="*/ 355 h 428"/>
                <a:gd name="T10" fmla="*/ 303 w 303"/>
                <a:gd name="T11" fmla="*/ 428 h 428"/>
                <a:gd name="T12" fmla="*/ 0 w 303"/>
                <a:gd name="T13" fmla="*/ 428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3" h="428">
                  <a:moveTo>
                    <a:pt x="0" y="428"/>
                  </a:moveTo>
                  <a:lnTo>
                    <a:pt x="0" y="0"/>
                  </a:lnTo>
                  <a:lnTo>
                    <a:pt x="88" y="0"/>
                  </a:lnTo>
                  <a:lnTo>
                    <a:pt x="88" y="355"/>
                  </a:lnTo>
                  <a:lnTo>
                    <a:pt x="303" y="355"/>
                  </a:lnTo>
                  <a:lnTo>
                    <a:pt x="303" y="428"/>
                  </a:lnTo>
                  <a:lnTo>
                    <a:pt x="0" y="42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29"/>
            <p:cNvSpPr>
              <a:spLocks/>
            </p:cNvSpPr>
            <p:nvPr userDrawn="1"/>
          </p:nvSpPr>
          <p:spPr bwMode="auto">
            <a:xfrm>
              <a:off x="2444" y="843"/>
              <a:ext cx="399" cy="432"/>
            </a:xfrm>
            <a:custGeom>
              <a:avLst/>
              <a:gdLst>
                <a:gd name="T0" fmla="*/ 0 w 399"/>
                <a:gd name="T1" fmla="*/ 432 h 432"/>
                <a:gd name="T2" fmla="*/ 147 w 399"/>
                <a:gd name="T3" fmla="*/ 205 h 432"/>
                <a:gd name="T4" fmla="*/ 14 w 399"/>
                <a:gd name="T5" fmla="*/ 0 h 432"/>
                <a:gd name="T6" fmla="*/ 116 w 399"/>
                <a:gd name="T7" fmla="*/ 0 h 432"/>
                <a:gd name="T8" fmla="*/ 201 w 399"/>
                <a:gd name="T9" fmla="*/ 139 h 432"/>
                <a:gd name="T10" fmla="*/ 286 w 399"/>
                <a:gd name="T11" fmla="*/ 0 h 432"/>
                <a:gd name="T12" fmla="*/ 388 w 399"/>
                <a:gd name="T13" fmla="*/ 0 h 432"/>
                <a:gd name="T14" fmla="*/ 253 w 399"/>
                <a:gd name="T15" fmla="*/ 210 h 432"/>
                <a:gd name="T16" fmla="*/ 399 w 399"/>
                <a:gd name="T17" fmla="*/ 432 h 432"/>
                <a:gd name="T18" fmla="*/ 295 w 399"/>
                <a:gd name="T19" fmla="*/ 432 h 432"/>
                <a:gd name="T20" fmla="*/ 201 w 399"/>
                <a:gd name="T21" fmla="*/ 283 h 432"/>
                <a:gd name="T22" fmla="*/ 104 w 399"/>
                <a:gd name="T23" fmla="*/ 432 h 432"/>
                <a:gd name="T24" fmla="*/ 0 w 399"/>
                <a:gd name="T25" fmla="*/ 43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9" h="432">
                  <a:moveTo>
                    <a:pt x="0" y="432"/>
                  </a:moveTo>
                  <a:lnTo>
                    <a:pt x="147" y="205"/>
                  </a:lnTo>
                  <a:lnTo>
                    <a:pt x="14" y="0"/>
                  </a:lnTo>
                  <a:lnTo>
                    <a:pt x="116" y="0"/>
                  </a:lnTo>
                  <a:lnTo>
                    <a:pt x="201" y="139"/>
                  </a:lnTo>
                  <a:lnTo>
                    <a:pt x="286" y="0"/>
                  </a:lnTo>
                  <a:lnTo>
                    <a:pt x="388" y="0"/>
                  </a:lnTo>
                  <a:lnTo>
                    <a:pt x="253" y="210"/>
                  </a:lnTo>
                  <a:lnTo>
                    <a:pt x="399" y="432"/>
                  </a:lnTo>
                  <a:lnTo>
                    <a:pt x="295" y="432"/>
                  </a:lnTo>
                  <a:lnTo>
                    <a:pt x="201" y="283"/>
                  </a:lnTo>
                  <a:lnTo>
                    <a:pt x="104" y="432"/>
                  </a:lnTo>
                  <a:lnTo>
                    <a:pt x="0" y="43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30"/>
            <p:cNvSpPr>
              <a:spLocks/>
            </p:cNvSpPr>
            <p:nvPr userDrawn="1"/>
          </p:nvSpPr>
          <p:spPr bwMode="auto">
            <a:xfrm>
              <a:off x="2914" y="843"/>
              <a:ext cx="295" cy="432"/>
            </a:xfrm>
            <a:custGeom>
              <a:avLst/>
              <a:gdLst>
                <a:gd name="T0" fmla="*/ 0 w 295"/>
                <a:gd name="T1" fmla="*/ 432 h 432"/>
                <a:gd name="T2" fmla="*/ 0 w 295"/>
                <a:gd name="T3" fmla="*/ 0 h 432"/>
                <a:gd name="T4" fmla="*/ 295 w 295"/>
                <a:gd name="T5" fmla="*/ 0 h 432"/>
                <a:gd name="T6" fmla="*/ 295 w 295"/>
                <a:gd name="T7" fmla="*/ 73 h 432"/>
                <a:gd name="T8" fmla="*/ 88 w 295"/>
                <a:gd name="T9" fmla="*/ 73 h 432"/>
                <a:gd name="T10" fmla="*/ 88 w 295"/>
                <a:gd name="T11" fmla="*/ 174 h 432"/>
                <a:gd name="T12" fmla="*/ 267 w 295"/>
                <a:gd name="T13" fmla="*/ 174 h 432"/>
                <a:gd name="T14" fmla="*/ 267 w 295"/>
                <a:gd name="T15" fmla="*/ 248 h 432"/>
                <a:gd name="T16" fmla="*/ 88 w 295"/>
                <a:gd name="T17" fmla="*/ 248 h 432"/>
                <a:gd name="T18" fmla="*/ 88 w 295"/>
                <a:gd name="T19" fmla="*/ 432 h 432"/>
                <a:gd name="T20" fmla="*/ 0 w 295"/>
                <a:gd name="T21" fmla="*/ 43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5" h="432">
                  <a:moveTo>
                    <a:pt x="0" y="432"/>
                  </a:moveTo>
                  <a:lnTo>
                    <a:pt x="0" y="0"/>
                  </a:lnTo>
                  <a:lnTo>
                    <a:pt x="295" y="0"/>
                  </a:lnTo>
                  <a:lnTo>
                    <a:pt x="295" y="73"/>
                  </a:lnTo>
                  <a:lnTo>
                    <a:pt x="88" y="73"/>
                  </a:lnTo>
                  <a:lnTo>
                    <a:pt x="88" y="174"/>
                  </a:lnTo>
                  <a:lnTo>
                    <a:pt x="267" y="174"/>
                  </a:lnTo>
                  <a:lnTo>
                    <a:pt x="267" y="248"/>
                  </a:lnTo>
                  <a:lnTo>
                    <a:pt x="88" y="248"/>
                  </a:lnTo>
                  <a:lnTo>
                    <a:pt x="88" y="432"/>
                  </a:lnTo>
                  <a:lnTo>
                    <a:pt x="0" y="43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31"/>
            <p:cNvSpPr>
              <a:spLocks/>
            </p:cNvSpPr>
            <p:nvPr userDrawn="1"/>
          </p:nvSpPr>
          <p:spPr bwMode="auto">
            <a:xfrm>
              <a:off x="3273" y="843"/>
              <a:ext cx="343" cy="432"/>
            </a:xfrm>
            <a:custGeom>
              <a:avLst/>
              <a:gdLst>
                <a:gd name="T0" fmla="*/ 128 w 343"/>
                <a:gd name="T1" fmla="*/ 432 h 432"/>
                <a:gd name="T2" fmla="*/ 128 w 343"/>
                <a:gd name="T3" fmla="*/ 73 h 432"/>
                <a:gd name="T4" fmla="*/ 0 w 343"/>
                <a:gd name="T5" fmla="*/ 73 h 432"/>
                <a:gd name="T6" fmla="*/ 0 w 343"/>
                <a:gd name="T7" fmla="*/ 0 h 432"/>
                <a:gd name="T8" fmla="*/ 343 w 343"/>
                <a:gd name="T9" fmla="*/ 0 h 432"/>
                <a:gd name="T10" fmla="*/ 343 w 343"/>
                <a:gd name="T11" fmla="*/ 73 h 432"/>
                <a:gd name="T12" fmla="*/ 215 w 343"/>
                <a:gd name="T13" fmla="*/ 73 h 432"/>
                <a:gd name="T14" fmla="*/ 215 w 343"/>
                <a:gd name="T15" fmla="*/ 432 h 432"/>
                <a:gd name="T16" fmla="*/ 128 w 343"/>
                <a:gd name="T17" fmla="*/ 43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432">
                  <a:moveTo>
                    <a:pt x="128" y="432"/>
                  </a:moveTo>
                  <a:lnTo>
                    <a:pt x="128" y="73"/>
                  </a:lnTo>
                  <a:lnTo>
                    <a:pt x="0" y="73"/>
                  </a:lnTo>
                  <a:lnTo>
                    <a:pt x="0" y="0"/>
                  </a:lnTo>
                  <a:lnTo>
                    <a:pt x="343" y="0"/>
                  </a:lnTo>
                  <a:lnTo>
                    <a:pt x="343" y="73"/>
                  </a:lnTo>
                  <a:lnTo>
                    <a:pt x="215" y="73"/>
                  </a:lnTo>
                  <a:lnTo>
                    <a:pt x="215" y="432"/>
                  </a:lnTo>
                  <a:lnTo>
                    <a:pt x="128" y="43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9" name="Group 17"/>
          <p:cNvGrpSpPr>
            <a:grpSpLocks noChangeAspect="1"/>
          </p:cNvGrpSpPr>
          <p:nvPr userDrawn="1"/>
        </p:nvGrpSpPr>
        <p:grpSpPr bwMode="auto">
          <a:xfrm>
            <a:off x="540741" y="4337362"/>
            <a:ext cx="984248" cy="509810"/>
            <a:chOff x="5172" y="892"/>
            <a:chExt cx="1892" cy="980"/>
          </a:xfrm>
        </p:grpSpPr>
        <p:sp>
          <p:nvSpPr>
            <p:cNvPr id="210" name="AutoShape 16"/>
            <p:cNvSpPr>
              <a:spLocks noChangeAspect="1" noChangeArrowheads="1" noTextEdit="1"/>
            </p:cNvSpPr>
            <p:nvPr userDrawn="1"/>
          </p:nvSpPr>
          <p:spPr bwMode="auto">
            <a:xfrm>
              <a:off x="5172" y="892"/>
              <a:ext cx="1892" cy="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18"/>
            <p:cNvSpPr>
              <a:spLocks noEditPoints="1"/>
            </p:cNvSpPr>
            <p:nvPr userDrawn="1"/>
          </p:nvSpPr>
          <p:spPr bwMode="auto">
            <a:xfrm>
              <a:off x="5936" y="1250"/>
              <a:ext cx="345" cy="268"/>
            </a:xfrm>
            <a:custGeom>
              <a:avLst/>
              <a:gdLst>
                <a:gd name="T0" fmla="*/ 953 w 1033"/>
                <a:gd name="T1" fmla="*/ 717 h 803"/>
                <a:gd name="T2" fmla="*/ 965 w 1033"/>
                <a:gd name="T3" fmla="*/ 74 h 803"/>
                <a:gd name="T4" fmla="*/ 993 w 1033"/>
                <a:gd name="T5" fmla="*/ 0 h 803"/>
                <a:gd name="T6" fmla="*/ 626 w 1033"/>
                <a:gd name="T7" fmla="*/ 0 h 803"/>
                <a:gd name="T8" fmla="*/ 662 w 1033"/>
                <a:gd name="T9" fmla="*/ 77 h 803"/>
                <a:gd name="T10" fmla="*/ 521 w 1033"/>
                <a:gd name="T11" fmla="*/ 283 h 803"/>
                <a:gd name="T12" fmla="*/ 428 w 1033"/>
                <a:gd name="T13" fmla="*/ 69 h 803"/>
                <a:gd name="T14" fmla="*/ 428 w 1033"/>
                <a:gd name="T15" fmla="*/ 69 h 803"/>
                <a:gd name="T16" fmla="*/ 32 w 1033"/>
                <a:gd name="T17" fmla="*/ 0 h 803"/>
                <a:gd name="T18" fmla="*/ 32 w 1033"/>
                <a:gd name="T19" fmla="*/ 0 h 803"/>
                <a:gd name="T20" fmla="*/ 81 w 1033"/>
                <a:gd name="T21" fmla="*/ 79 h 803"/>
                <a:gd name="T22" fmla="*/ 98 w 1033"/>
                <a:gd name="T23" fmla="*/ 713 h 803"/>
                <a:gd name="T24" fmla="*/ 428 w 1033"/>
                <a:gd name="T25" fmla="*/ 390 h 803"/>
                <a:gd name="T26" fmla="*/ 98 w 1033"/>
                <a:gd name="T27" fmla="*/ 713 h 803"/>
                <a:gd name="T28" fmla="*/ 9 w 1033"/>
                <a:gd name="T29" fmla="*/ 733 h 803"/>
                <a:gd name="T30" fmla="*/ 0 w 1033"/>
                <a:gd name="T31" fmla="*/ 803 h 803"/>
                <a:gd name="T32" fmla="*/ 385 w 1033"/>
                <a:gd name="T33" fmla="*/ 803 h 803"/>
                <a:gd name="T34" fmla="*/ 385 w 1033"/>
                <a:gd name="T35" fmla="*/ 734 h 803"/>
                <a:gd name="T36" fmla="*/ 328 w 1033"/>
                <a:gd name="T37" fmla="*/ 722 h 803"/>
                <a:gd name="T38" fmla="*/ 280 w 1033"/>
                <a:gd name="T39" fmla="*/ 712 h 803"/>
                <a:gd name="T40" fmla="*/ 538 w 1033"/>
                <a:gd name="T41" fmla="*/ 505 h 803"/>
                <a:gd name="T42" fmla="*/ 525 w 1033"/>
                <a:gd name="T43" fmla="*/ 520 h 803"/>
                <a:gd name="T44" fmla="*/ 633 w 1033"/>
                <a:gd name="T45" fmla="*/ 734 h 803"/>
                <a:gd name="T46" fmla="*/ 1033 w 1033"/>
                <a:gd name="T47" fmla="*/ 803 h 803"/>
                <a:gd name="T48" fmla="*/ 1033 w 1033"/>
                <a:gd name="T49" fmla="*/ 734 h 803"/>
                <a:gd name="T50" fmla="*/ 136 w 1033"/>
                <a:gd name="T51" fmla="*/ 91 h 803"/>
                <a:gd name="T52" fmla="*/ 211 w 1033"/>
                <a:gd name="T53" fmla="*/ 169 h 803"/>
                <a:gd name="T54" fmla="*/ 325 w 1033"/>
                <a:gd name="T55" fmla="*/ 91 h 803"/>
                <a:gd name="T56" fmla="*/ 398 w 1033"/>
                <a:gd name="T57" fmla="*/ 169 h 803"/>
                <a:gd name="T58" fmla="*/ 631 w 1033"/>
                <a:gd name="T59" fmla="*/ 409 h 803"/>
                <a:gd name="T60" fmla="*/ 639 w 1033"/>
                <a:gd name="T61" fmla="*/ 402 h 803"/>
                <a:gd name="T62" fmla="*/ 631 w 1033"/>
                <a:gd name="T63" fmla="*/ 409 h 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3" h="803">
                  <a:moveTo>
                    <a:pt x="1019" y="732"/>
                  </a:moveTo>
                  <a:lnTo>
                    <a:pt x="953" y="717"/>
                  </a:lnTo>
                  <a:lnTo>
                    <a:pt x="639" y="405"/>
                  </a:lnTo>
                  <a:lnTo>
                    <a:pt x="965" y="74"/>
                  </a:lnTo>
                  <a:lnTo>
                    <a:pt x="993" y="69"/>
                  </a:lnTo>
                  <a:lnTo>
                    <a:pt x="993" y="0"/>
                  </a:lnTo>
                  <a:lnTo>
                    <a:pt x="993" y="0"/>
                  </a:lnTo>
                  <a:lnTo>
                    <a:pt x="626" y="0"/>
                  </a:lnTo>
                  <a:lnTo>
                    <a:pt x="626" y="69"/>
                  </a:lnTo>
                  <a:lnTo>
                    <a:pt x="662" y="77"/>
                  </a:lnTo>
                  <a:lnTo>
                    <a:pt x="713" y="88"/>
                  </a:lnTo>
                  <a:lnTo>
                    <a:pt x="521" y="283"/>
                  </a:lnTo>
                  <a:lnTo>
                    <a:pt x="330" y="90"/>
                  </a:lnTo>
                  <a:lnTo>
                    <a:pt x="428" y="69"/>
                  </a:lnTo>
                  <a:lnTo>
                    <a:pt x="428" y="69"/>
                  </a:lnTo>
                  <a:lnTo>
                    <a:pt x="428" y="69"/>
                  </a:lnTo>
                  <a:lnTo>
                    <a:pt x="4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69"/>
                  </a:lnTo>
                  <a:lnTo>
                    <a:pt x="81" y="79"/>
                  </a:lnTo>
                  <a:lnTo>
                    <a:pt x="406" y="397"/>
                  </a:lnTo>
                  <a:lnTo>
                    <a:pt x="98" y="713"/>
                  </a:lnTo>
                  <a:lnTo>
                    <a:pt x="106" y="712"/>
                  </a:lnTo>
                  <a:lnTo>
                    <a:pt x="428" y="390"/>
                  </a:lnTo>
                  <a:lnTo>
                    <a:pt x="106" y="712"/>
                  </a:lnTo>
                  <a:lnTo>
                    <a:pt x="98" y="713"/>
                  </a:lnTo>
                  <a:lnTo>
                    <a:pt x="98" y="713"/>
                  </a:lnTo>
                  <a:lnTo>
                    <a:pt x="9" y="733"/>
                  </a:lnTo>
                  <a:lnTo>
                    <a:pt x="0" y="734"/>
                  </a:lnTo>
                  <a:lnTo>
                    <a:pt x="0" y="803"/>
                  </a:lnTo>
                  <a:lnTo>
                    <a:pt x="0" y="803"/>
                  </a:lnTo>
                  <a:lnTo>
                    <a:pt x="385" y="803"/>
                  </a:lnTo>
                  <a:lnTo>
                    <a:pt x="385" y="803"/>
                  </a:lnTo>
                  <a:lnTo>
                    <a:pt x="385" y="734"/>
                  </a:lnTo>
                  <a:lnTo>
                    <a:pt x="355" y="729"/>
                  </a:lnTo>
                  <a:lnTo>
                    <a:pt x="328" y="722"/>
                  </a:lnTo>
                  <a:lnTo>
                    <a:pt x="280" y="712"/>
                  </a:lnTo>
                  <a:lnTo>
                    <a:pt x="280" y="712"/>
                  </a:lnTo>
                  <a:lnTo>
                    <a:pt x="328" y="722"/>
                  </a:lnTo>
                  <a:lnTo>
                    <a:pt x="538" y="505"/>
                  </a:lnTo>
                  <a:lnTo>
                    <a:pt x="539" y="506"/>
                  </a:lnTo>
                  <a:lnTo>
                    <a:pt x="525" y="520"/>
                  </a:lnTo>
                  <a:lnTo>
                    <a:pt x="717" y="716"/>
                  </a:lnTo>
                  <a:lnTo>
                    <a:pt x="633" y="734"/>
                  </a:lnTo>
                  <a:lnTo>
                    <a:pt x="633" y="803"/>
                  </a:lnTo>
                  <a:lnTo>
                    <a:pt x="1033" y="803"/>
                  </a:lnTo>
                  <a:lnTo>
                    <a:pt x="1033" y="803"/>
                  </a:lnTo>
                  <a:lnTo>
                    <a:pt x="1033" y="734"/>
                  </a:lnTo>
                  <a:lnTo>
                    <a:pt x="1019" y="732"/>
                  </a:lnTo>
                  <a:close/>
                  <a:moveTo>
                    <a:pt x="136" y="91"/>
                  </a:moveTo>
                  <a:lnTo>
                    <a:pt x="136" y="91"/>
                  </a:lnTo>
                  <a:lnTo>
                    <a:pt x="211" y="169"/>
                  </a:lnTo>
                  <a:lnTo>
                    <a:pt x="136" y="91"/>
                  </a:lnTo>
                  <a:close/>
                  <a:moveTo>
                    <a:pt x="325" y="91"/>
                  </a:moveTo>
                  <a:lnTo>
                    <a:pt x="325" y="91"/>
                  </a:lnTo>
                  <a:lnTo>
                    <a:pt x="398" y="169"/>
                  </a:lnTo>
                  <a:lnTo>
                    <a:pt x="325" y="91"/>
                  </a:lnTo>
                  <a:close/>
                  <a:moveTo>
                    <a:pt x="631" y="409"/>
                  </a:moveTo>
                  <a:lnTo>
                    <a:pt x="639" y="401"/>
                  </a:lnTo>
                  <a:lnTo>
                    <a:pt x="639" y="402"/>
                  </a:lnTo>
                  <a:lnTo>
                    <a:pt x="631" y="410"/>
                  </a:lnTo>
                  <a:lnTo>
                    <a:pt x="631" y="40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19"/>
            <p:cNvSpPr>
              <a:spLocks/>
            </p:cNvSpPr>
            <p:nvPr userDrawn="1"/>
          </p:nvSpPr>
          <p:spPr bwMode="auto">
            <a:xfrm>
              <a:off x="6839" y="1252"/>
              <a:ext cx="225" cy="262"/>
            </a:xfrm>
            <a:custGeom>
              <a:avLst/>
              <a:gdLst>
                <a:gd name="T0" fmla="*/ 519 w 676"/>
                <a:gd name="T1" fmla="*/ 786 h 786"/>
                <a:gd name="T2" fmla="*/ 157 w 676"/>
                <a:gd name="T3" fmla="*/ 786 h 786"/>
                <a:gd name="T4" fmla="*/ 157 w 676"/>
                <a:gd name="T5" fmla="*/ 711 h 786"/>
                <a:gd name="T6" fmla="*/ 252 w 676"/>
                <a:gd name="T7" fmla="*/ 688 h 786"/>
                <a:gd name="T8" fmla="*/ 252 w 676"/>
                <a:gd name="T9" fmla="*/ 92 h 786"/>
                <a:gd name="T10" fmla="*/ 169 w 676"/>
                <a:gd name="T11" fmla="*/ 92 h 786"/>
                <a:gd name="T12" fmla="*/ 127 w 676"/>
                <a:gd name="T13" fmla="*/ 188 h 786"/>
                <a:gd name="T14" fmla="*/ 0 w 676"/>
                <a:gd name="T15" fmla="*/ 188 h 786"/>
                <a:gd name="T16" fmla="*/ 0 w 676"/>
                <a:gd name="T17" fmla="*/ 0 h 786"/>
                <a:gd name="T18" fmla="*/ 676 w 676"/>
                <a:gd name="T19" fmla="*/ 0 h 786"/>
                <a:gd name="T20" fmla="*/ 676 w 676"/>
                <a:gd name="T21" fmla="*/ 188 h 786"/>
                <a:gd name="T22" fmla="*/ 549 w 676"/>
                <a:gd name="T23" fmla="*/ 188 h 786"/>
                <a:gd name="T24" fmla="*/ 509 w 676"/>
                <a:gd name="T25" fmla="*/ 92 h 786"/>
                <a:gd name="T26" fmla="*/ 424 w 676"/>
                <a:gd name="T27" fmla="*/ 92 h 786"/>
                <a:gd name="T28" fmla="*/ 424 w 676"/>
                <a:gd name="T29" fmla="*/ 688 h 786"/>
                <a:gd name="T30" fmla="*/ 519 w 676"/>
                <a:gd name="T31" fmla="*/ 711 h 786"/>
                <a:gd name="T32" fmla="*/ 519 w 676"/>
                <a:gd name="T33" fmla="*/ 786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76" h="786">
                  <a:moveTo>
                    <a:pt x="519" y="786"/>
                  </a:moveTo>
                  <a:lnTo>
                    <a:pt x="157" y="786"/>
                  </a:lnTo>
                  <a:lnTo>
                    <a:pt x="157" y="711"/>
                  </a:lnTo>
                  <a:lnTo>
                    <a:pt x="252" y="688"/>
                  </a:lnTo>
                  <a:lnTo>
                    <a:pt x="252" y="92"/>
                  </a:lnTo>
                  <a:lnTo>
                    <a:pt x="169" y="92"/>
                  </a:lnTo>
                  <a:lnTo>
                    <a:pt x="127" y="188"/>
                  </a:lnTo>
                  <a:lnTo>
                    <a:pt x="0" y="188"/>
                  </a:lnTo>
                  <a:lnTo>
                    <a:pt x="0" y="0"/>
                  </a:lnTo>
                  <a:lnTo>
                    <a:pt x="676" y="0"/>
                  </a:lnTo>
                  <a:lnTo>
                    <a:pt x="676" y="188"/>
                  </a:lnTo>
                  <a:lnTo>
                    <a:pt x="549" y="188"/>
                  </a:lnTo>
                  <a:lnTo>
                    <a:pt x="509" y="92"/>
                  </a:lnTo>
                  <a:lnTo>
                    <a:pt x="424" y="92"/>
                  </a:lnTo>
                  <a:lnTo>
                    <a:pt x="424" y="688"/>
                  </a:lnTo>
                  <a:lnTo>
                    <a:pt x="519" y="711"/>
                  </a:lnTo>
                  <a:lnTo>
                    <a:pt x="519" y="78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20"/>
            <p:cNvSpPr>
              <a:spLocks/>
            </p:cNvSpPr>
            <p:nvPr userDrawn="1"/>
          </p:nvSpPr>
          <p:spPr bwMode="auto">
            <a:xfrm>
              <a:off x="6839" y="1252"/>
              <a:ext cx="225" cy="262"/>
            </a:xfrm>
            <a:custGeom>
              <a:avLst/>
              <a:gdLst>
                <a:gd name="T0" fmla="*/ 519 w 676"/>
                <a:gd name="T1" fmla="*/ 786 h 786"/>
                <a:gd name="T2" fmla="*/ 157 w 676"/>
                <a:gd name="T3" fmla="*/ 786 h 786"/>
                <a:gd name="T4" fmla="*/ 157 w 676"/>
                <a:gd name="T5" fmla="*/ 711 h 786"/>
                <a:gd name="T6" fmla="*/ 252 w 676"/>
                <a:gd name="T7" fmla="*/ 688 h 786"/>
                <a:gd name="T8" fmla="*/ 252 w 676"/>
                <a:gd name="T9" fmla="*/ 92 h 786"/>
                <a:gd name="T10" fmla="*/ 169 w 676"/>
                <a:gd name="T11" fmla="*/ 92 h 786"/>
                <a:gd name="T12" fmla="*/ 127 w 676"/>
                <a:gd name="T13" fmla="*/ 188 h 786"/>
                <a:gd name="T14" fmla="*/ 0 w 676"/>
                <a:gd name="T15" fmla="*/ 188 h 786"/>
                <a:gd name="T16" fmla="*/ 0 w 676"/>
                <a:gd name="T17" fmla="*/ 0 h 786"/>
                <a:gd name="T18" fmla="*/ 676 w 676"/>
                <a:gd name="T19" fmla="*/ 0 h 786"/>
                <a:gd name="T20" fmla="*/ 676 w 676"/>
                <a:gd name="T21" fmla="*/ 188 h 786"/>
                <a:gd name="T22" fmla="*/ 549 w 676"/>
                <a:gd name="T23" fmla="*/ 188 h 786"/>
                <a:gd name="T24" fmla="*/ 509 w 676"/>
                <a:gd name="T25" fmla="*/ 92 h 786"/>
                <a:gd name="T26" fmla="*/ 424 w 676"/>
                <a:gd name="T27" fmla="*/ 92 h 786"/>
                <a:gd name="T28" fmla="*/ 424 w 676"/>
                <a:gd name="T29" fmla="*/ 688 h 786"/>
                <a:gd name="T30" fmla="*/ 519 w 676"/>
                <a:gd name="T31" fmla="*/ 711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76" h="786">
                  <a:moveTo>
                    <a:pt x="519" y="786"/>
                  </a:moveTo>
                  <a:lnTo>
                    <a:pt x="157" y="786"/>
                  </a:lnTo>
                  <a:lnTo>
                    <a:pt x="157" y="711"/>
                  </a:lnTo>
                  <a:lnTo>
                    <a:pt x="252" y="688"/>
                  </a:lnTo>
                  <a:lnTo>
                    <a:pt x="252" y="92"/>
                  </a:lnTo>
                  <a:lnTo>
                    <a:pt x="169" y="92"/>
                  </a:lnTo>
                  <a:lnTo>
                    <a:pt x="127" y="188"/>
                  </a:lnTo>
                  <a:lnTo>
                    <a:pt x="0" y="188"/>
                  </a:lnTo>
                  <a:lnTo>
                    <a:pt x="0" y="0"/>
                  </a:lnTo>
                  <a:lnTo>
                    <a:pt x="676" y="0"/>
                  </a:lnTo>
                  <a:lnTo>
                    <a:pt x="676" y="188"/>
                  </a:lnTo>
                  <a:lnTo>
                    <a:pt x="549" y="188"/>
                  </a:lnTo>
                  <a:lnTo>
                    <a:pt x="509" y="92"/>
                  </a:lnTo>
                  <a:lnTo>
                    <a:pt x="424" y="92"/>
                  </a:lnTo>
                  <a:lnTo>
                    <a:pt x="424" y="688"/>
                  </a:lnTo>
                  <a:lnTo>
                    <a:pt x="519" y="711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21"/>
            <p:cNvSpPr>
              <a:spLocks/>
            </p:cNvSpPr>
            <p:nvPr userDrawn="1"/>
          </p:nvSpPr>
          <p:spPr bwMode="auto">
            <a:xfrm>
              <a:off x="6594" y="1252"/>
              <a:ext cx="195" cy="262"/>
            </a:xfrm>
            <a:custGeom>
              <a:avLst/>
              <a:gdLst>
                <a:gd name="T0" fmla="*/ 346 w 585"/>
                <a:gd name="T1" fmla="*/ 786 h 786"/>
                <a:gd name="T2" fmla="*/ 0 w 585"/>
                <a:gd name="T3" fmla="*/ 786 h 786"/>
                <a:gd name="T4" fmla="*/ 0 w 585"/>
                <a:gd name="T5" fmla="*/ 711 h 786"/>
                <a:gd name="T6" fmla="*/ 78 w 585"/>
                <a:gd name="T7" fmla="*/ 688 h 786"/>
                <a:gd name="T8" fmla="*/ 78 w 585"/>
                <a:gd name="T9" fmla="*/ 99 h 786"/>
                <a:gd name="T10" fmla="*/ 0 w 585"/>
                <a:gd name="T11" fmla="*/ 74 h 786"/>
                <a:gd name="T12" fmla="*/ 0 w 585"/>
                <a:gd name="T13" fmla="*/ 0 h 786"/>
                <a:gd name="T14" fmla="*/ 585 w 585"/>
                <a:gd name="T15" fmla="*/ 0 h 786"/>
                <a:gd name="T16" fmla="*/ 585 w 585"/>
                <a:gd name="T17" fmla="*/ 188 h 786"/>
                <a:gd name="T18" fmla="*/ 454 w 585"/>
                <a:gd name="T19" fmla="*/ 188 h 786"/>
                <a:gd name="T20" fmla="*/ 410 w 585"/>
                <a:gd name="T21" fmla="*/ 92 h 786"/>
                <a:gd name="T22" fmla="*/ 249 w 585"/>
                <a:gd name="T23" fmla="*/ 92 h 786"/>
                <a:gd name="T24" fmla="*/ 249 w 585"/>
                <a:gd name="T25" fmla="*/ 335 h 786"/>
                <a:gd name="T26" fmla="*/ 381 w 585"/>
                <a:gd name="T27" fmla="*/ 335 h 786"/>
                <a:gd name="T28" fmla="*/ 414 w 585"/>
                <a:gd name="T29" fmla="*/ 256 h 786"/>
                <a:gd name="T30" fmla="*/ 524 w 585"/>
                <a:gd name="T31" fmla="*/ 256 h 786"/>
                <a:gd name="T32" fmla="*/ 524 w 585"/>
                <a:gd name="T33" fmla="*/ 506 h 786"/>
                <a:gd name="T34" fmla="*/ 414 w 585"/>
                <a:gd name="T35" fmla="*/ 506 h 786"/>
                <a:gd name="T36" fmla="*/ 381 w 585"/>
                <a:gd name="T37" fmla="*/ 428 h 786"/>
                <a:gd name="T38" fmla="*/ 249 w 585"/>
                <a:gd name="T39" fmla="*/ 428 h 786"/>
                <a:gd name="T40" fmla="*/ 249 w 585"/>
                <a:gd name="T41" fmla="*/ 693 h 786"/>
                <a:gd name="T42" fmla="*/ 346 w 585"/>
                <a:gd name="T43" fmla="*/ 711 h 786"/>
                <a:gd name="T44" fmla="*/ 346 w 585"/>
                <a:gd name="T45" fmla="*/ 786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5" h="786">
                  <a:moveTo>
                    <a:pt x="346" y="786"/>
                  </a:moveTo>
                  <a:lnTo>
                    <a:pt x="0" y="786"/>
                  </a:lnTo>
                  <a:lnTo>
                    <a:pt x="0" y="711"/>
                  </a:lnTo>
                  <a:lnTo>
                    <a:pt x="78" y="688"/>
                  </a:lnTo>
                  <a:lnTo>
                    <a:pt x="78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585" y="0"/>
                  </a:lnTo>
                  <a:lnTo>
                    <a:pt x="585" y="188"/>
                  </a:lnTo>
                  <a:lnTo>
                    <a:pt x="454" y="188"/>
                  </a:lnTo>
                  <a:lnTo>
                    <a:pt x="410" y="92"/>
                  </a:lnTo>
                  <a:lnTo>
                    <a:pt x="249" y="92"/>
                  </a:lnTo>
                  <a:lnTo>
                    <a:pt x="249" y="335"/>
                  </a:lnTo>
                  <a:lnTo>
                    <a:pt x="381" y="335"/>
                  </a:lnTo>
                  <a:lnTo>
                    <a:pt x="414" y="256"/>
                  </a:lnTo>
                  <a:lnTo>
                    <a:pt x="524" y="256"/>
                  </a:lnTo>
                  <a:lnTo>
                    <a:pt x="524" y="506"/>
                  </a:lnTo>
                  <a:lnTo>
                    <a:pt x="414" y="506"/>
                  </a:lnTo>
                  <a:lnTo>
                    <a:pt x="381" y="428"/>
                  </a:lnTo>
                  <a:lnTo>
                    <a:pt x="249" y="428"/>
                  </a:lnTo>
                  <a:lnTo>
                    <a:pt x="249" y="693"/>
                  </a:lnTo>
                  <a:lnTo>
                    <a:pt x="346" y="711"/>
                  </a:lnTo>
                  <a:lnTo>
                    <a:pt x="346" y="78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22"/>
            <p:cNvSpPr>
              <a:spLocks/>
            </p:cNvSpPr>
            <p:nvPr userDrawn="1"/>
          </p:nvSpPr>
          <p:spPr bwMode="auto">
            <a:xfrm>
              <a:off x="6594" y="1252"/>
              <a:ext cx="195" cy="262"/>
            </a:xfrm>
            <a:custGeom>
              <a:avLst/>
              <a:gdLst>
                <a:gd name="T0" fmla="*/ 346 w 585"/>
                <a:gd name="T1" fmla="*/ 786 h 786"/>
                <a:gd name="T2" fmla="*/ 0 w 585"/>
                <a:gd name="T3" fmla="*/ 786 h 786"/>
                <a:gd name="T4" fmla="*/ 0 w 585"/>
                <a:gd name="T5" fmla="*/ 711 h 786"/>
                <a:gd name="T6" fmla="*/ 78 w 585"/>
                <a:gd name="T7" fmla="*/ 688 h 786"/>
                <a:gd name="T8" fmla="*/ 78 w 585"/>
                <a:gd name="T9" fmla="*/ 99 h 786"/>
                <a:gd name="T10" fmla="*/ 0 w 585"/>
                <a:gd name="T11" fmla="*/ 74 h 786"/>
                <a:gd name="T12" fmla="*/ 0 w 585"/>
                <a:gd name="T13" fmla="*/ 0 h 786"/>
                <a:gd name="T14" fmla="*/ 585 w 585"/>
                <a:gd name="T15" fmla="*/ 0 h 786"/>
                <a:gd name="T16" fmla="*/ 585 w 585"/>
                <a:gd name="T17" fmla="*/ 188 h 786"/>
                <a:gd name="T18" fmla="*/ 454 w 585"/>
                <a:gd name="T19" fmla="*/ 188 h 786"/>
                <a:gd name="T20" fmla="*/ 410 w 585"/>
                <a:gd name="T21" fmla="*/ 92 h 786"/>
                <a:gd name="T22" fmla="*/ 249 w 585"/>
                <a:gd name="T23" fmla="*/ 92 h 786"/>
                <a:gd name="T24" fmla="*/ 249 w 585"/>
                <a:gd name="T25" fmla="*/ 335 h 786"/>
                <a:gd name="T26" fmla="*/ 381 w 585"/>
                <a:gd name="T27" fmla="*/ 335 h 786"/>
                <a:gd name="T28" fmla="*/ 414 w 585"/>
                <a:gd name="T29" fmla="*/ 256 h 786"/>
                <a:gd name="T30" fmla="*/ 524 w 585"/>
                <a:gd name="T31" fmla="*/ 256 h 786"/>
                <a:gd name="T32" fmla="*/ 524 w 585"/>
                <a:gd name="T33" fmla="*/ 506 h 786"/>
                <a:gd name="T34" fmla="*/ 414 w 585"/>
                <a:gd name="T35" fmla="*/ 506 h 786"/>
                <a:gd name="T36" fmla="*/ 381 w 585"/>
                <a:gd name="T37" fmla="*/ 428 h 786"/>
                <a:gd name="T38" fmla="*/ 249 w 585"/>
                <a:gd name="T39" fmla="*/ 428 h 786"/>
                <a:gd name="T40" fmla="*/ 249 w 585"/>
                <a:gd name="T41" fmla="*/ 693 h 786"/>
                <a:gd name="T42" fmla="*/ 346 w 585"/>
                <a:gd name="T43" fmla="*/ 711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5" h="786">
                  <a:moveTo>
                    <a:pt x="346" y="786"/>
                  </a:moveTo>
                  <a:lnTo>
                    <a:pt x="0" y="786"/>
                  </a:lnTo>
                  <a:lnTo>
                    <a:pt x="0" y="711"/>
                  </a:lnTo>
                  <a:lnTo>
                    <a:pt x="78" y="688"/>
                  </a:lnTo>
                  <a:lnTo>
                    <a:pt x="78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585" y="0"/>
                  </a:lnTo>
                  <a:lnTo>
                    <a:pt x="585" y="188"/>
                  </a:lnTo>
                  <a:lnTo>
                    <a:pt x="454" y="188"/>
                  </a:lnTo>
                  <a:lnTo>
                    <a:pt x="410" y="92"/>
                  </a:lnTo>
                  <a:lnTo>
                    <a:pt x="249" y="92"/>
                  </a:lnTo>
                  <a:lnTo>
                    <a:pt x="249" y="335"/>
                  </a:lnTo>
                  <a:lnTo>
                    <a:pt x="381" y="335"/>
                  </a:lnTo>
                  <a:lnTo>
                    <a:pt x="414" y="256"/>
                  </a:lnTo>
                  <a:lnTo>
                    <a:pt x="524" y="256"/>
                  </a:lnTo>
                  <a:lnTo>
                    <a:pt x="524" y="506"/>
                  </a:lnTo>
                  <a:lnTo>
                    <a:pt x="414" y="506"/>
                  </a:lnTo>
                  <a:lnTo>
                    <a:pt x="381" y="428"/>
                  </a:lnTo>
                  <a:lnTo>
                    <a:pt x="249" y="428"/>
                  </a:lnTo>
                  <a:lnTo>
                    <a:pt x="249" y="693"/>
                  </a:lnTo>
                  <a:lnTo>
                    <a:pt x="346" y="711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23"/>
            <p:cNvSpPr>
              <a:spLocks noEditPoints="1"/>
            </p:cNvSpPr>
            <p:nvPr userDrawn="1"/>
          </p:nvSpPr>
          <p:spPr bwMode="auto">
            <a:xfrm>
              <a:off x="6300" y="1247"/>
              <a:ext cx="243" cy="272"/>
            </a:xfrm>
            <a:custGeom>
              <a:avLst/>
              <a:gdLst>
                <a:gd name="T0" fmla="*/ 407 w 729"/>
                <a:gd name="T1" fmla="*/ 709 h 817"/>
                <a:gd name="T2" fmla="*/ 476 w 729"/>
                <a:gd name="T3" fmla="*/ 672 h 817"/>
                <a:gd name="T4" fmla="*/ 513 w 729"/>
                <a:gd name="T5" fmla="*/ 617 h 817"/>
                <a:gd name="T6" fmla="*/ 540 w 729"/>
                <a:gd name="T7" fmla="*/ 512 h 817"/>
                <a:gd name="T8" fmla="*/ 546 w 729"/>
                <a:gd name="T9" fmla="*/ 408 h 817"/>
                <a:gd name="T10" fmla="*/ 535 w 729"/>
                <a:gd name="T11" fmla="*/ 276 h 817"/>
                <a:gd name="T12" fmla="*/ 501 w 729"/>
                <a:gd name="T13" fmla="*/ 180 h 817"/>
                <a:gd name="T14" fmla="*/ 459 w 729"/>
                <a:gd name="T15" fmla="*/ 132 h 817"/>
                <a:gd name="T16" fmla="*/ 385 w 729"/>
                <a:gd name="T17" fmla="*/ 103 h 817"/>
                <a:gd name="T18" fmla="*/ 322 w 729"/>
                <a:gd name="T19" fmla="*/ 107 h 817"/>
                <a:gd name="T20" fmla="*/ 256 w 729"/>
                <a:gd name="T21" fmla="*/ 146 h 817"/>
                <a:gd name="T22" fmla="*/ 219 w 729"/>
                <a:gd name="T23" fmla="*/ 202 h 817"/>
                <a:gd name="T24" fmla="*/ 191 w 729"/>
                <a:gd name="T25" fmla="*/ 306 h 817"/>
                <a:gd name="T26" fmla="*/ 184 w 729"/>
                <a:gd name="T27" fmla="*/ 408 h 817"/>
                <a:gd name="T28" fmla="*/ 195 w 729"/>
                <a:gd name="T29" fmla="*/ 542 h 817"/>
                <a:gd name="T30" fmla="*/ 230 w 729"/>
                <a:gd name="T31" fmla="*/ 636 h 817"/>
                <a:gd name="T32" fmla="*/ 270 w 729"/>
                <a:gd name="T33" fmla="*/ 684 h 817"/>
                <a:gd name="T34" fmla="*/ 343 w 729"/>
                <a:gd name="T35" fmla="*/ 713 h 817"/>
                <a:gd name="T36" fmla="*/ 344 w 729"/>
                <a:gd name="T37" fmla="*/ 817 h 817"/>
                <a:gd name="T38" fmla="*/ 266 w 729"/>
                <a:gd name="T39" fmla="*/ 806 h 817"/>
                <a:gd name="T40" fmla="*/ 196 w 729"/>
                <a:gd name="T41" fmla="*/ 784 h 817"/>
                <a:gd name="T42" fmla="*/ 136 w 729"/>
                <a:gd name="T43" fmla="*/ 748 h 817"/>
                <a:gd name="T44" fmla="*/ 98 w 729"/>
                <a:gd name="T45" fmla="*/ 713 h 817"/>
                <a:gd name="T46" fmla="*/ 55 w 729"/>
                <a:gd name="T47" fmla="*/ 656 h 817"/>
                <a:gd name="T48" fmla="*/ 24 w 729"/>
                <a:gd name="T49" fmla="*/ 590 h 817"/>
                <a:gd name="T50" fmla="*/ 5 w 729"/>
                <a:gd name="T51" fmla="*/ 513 h 817"/>
                <a:gd name="T52" fmla="*/ 0 w 729"/>
                <a:gd name="T53" fmla="*/ 428 h 817"/>
                <a:gd name="T54" fmla="*/ 3 w 729"/>
                <a:gd name="T55" fmla="*/ 356 h 817"/>
                <a:gd name="T56" fmla="*/ 20 w 729"/>
                <a:gd name="T57" fmla="*/ 272 h 817"/>
                <a:gd name="T58" fmla="*/ 48 w 729"/>
                <a:gd name="T59" fmla="*/ 196 h 817"/>
                <a:gd name="T60" fmla="*/ 90 w 729"/>
                <a:gd name="T61" fmla="*/ 131 h 817"/>
                <a:gd name="T62" fmla="*/ 130 w 729"/>
                <a:gd name="T63" fmla="*/ 89 h 817"/>
                <a:gd name="T64" fmla="*/ 190 w 729"/>
                <a:gd name="T65" fmla="*/ 45 h 817"/>
                <a:gd name="T66" fmla="*/ 258 w 729"/>
                <a:gd name="T67" fmla="*/ 17 h 817"/>
                <a:gd name="T68" fmla="*/ 335 w 729"/>
                <a:gd name="T69" fmla="*/ 1 h 817"/>
                <a:gd name="T70" fmla="*/ 397 w 729"/>
                <a:gd name="T71" fmla="*/ 0 h 817"/>
                <a:gd name="T72" fmla="*/ 471 w 729"/>
                <a:gd name="T73" fmla="*/ 10 h 817"/>
                <a:gd name="T74" fmla="*/ 538 w 729"/>
                <a:gd name="T75" fmla="*/ 33 h 817"/>
                <a:gd name="T76" fmla="*/ 596 w 729"/>
                <a:gd name="T77" fmla="*/ 68 h 817"/>
                <a:gd name="T78" fmla="*/ 634 w 729"/>
                <a:gd name="T79" fmla="*/ 105 h 817"/>
                <a:gd name="T80" fmla="*/ 676 w 729"/>
                <a:gd name="T81" fmla="*/ 162 h 817"/>
                <a:gd name="T82" fmla="*/ 706 w 729"/>
                <a:gd name="T83" fmla="*/ 228 h 817"/>
                <a:gd name="T84" fmla="*/ 724 w 729"/>
                <a:gd name="T85" fmla="*/ 303 h 817"/>
                <a:gd name="T86" fmla="*/ 729 w 729"/>
                <a:gd name="T87" fmla="*/ 387 h 817"/>
                <a:gd name="T88" fmla="*/ 724 w 729"/>
                <a:gd name="T89" fmla="*/ 481 h 817"/>
                <a:gd name="T90" fmla="*/ 704 w 729"/>
                <a:gd name="T91" fmla="*/ 564 h 817"/>
                <a:gd name="T92" fmla="*/ 673 w 729"/>
                <a:gd name="T93" fmla="*/ 638 h 817"/>
                <a:gd name="T94" fmla="*/ 631 w 729"/>
                <a:gd name="T95" fmla="*/ 700 h 817"/>
                <a:gd name="T96" fmla="*/ 592 w 729"/>
                <a:gd name="T97" fmla="*/ 740 h 817"/>
                <a:gd name="T98" fmla="*/ 531 w 729"/>
                <a:gd name="T99" fmla="*/ 780 h 817"/>
                <a:gd name="T100" fmla="*/ 462 w 729"/>
                <a:gd name="T101" fmla="*/ 805 h 817"/>
                <a:gd name="T102" fmla="*/ 385 w 729"/>
                <a:gd name="T103" fmla="*/ 81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9" h="817">
                  <a:moveTo>
                    <a:pt x="365" y="714"/>
                  </a:moveTo>
                  <a:lnTo>
                    <a:pt x="365" y="714"/>
                  </a:lnTo>
                  <a:lnTo>
                    <a:pt x="387" y="713"/>
                  </a:lnTo>
                  <a:lnTo>
                    <a:pt x="407" y="709"/>
                  </a:lnTo>
                  <a:lnTo>
                    <a:pt x="427" y="704"/>
                  </a:lnTo>
                  <a:lnTo>
                    <a:pt x="445" y="695"/>
                  </a:lnTo>
                  <a:lnTo>
                    <a:pt x="461" y="684"/>
                  </a:lnTo>
                  <a:lnTo>
                    <a:pt x="476" y="672"/>
                  </a:lnTo>
                  <a:lnTo>
                    <a:pt x="489" y="656"/>
                  </a:lnTo>
                  <a:lnTo>
                    <a:pt x="501" y="638"/>
                  </a:lnTo>
                  <a:lnTo>
                    <a:pt x="501" y="638"/>
                  </a:lnTo>
                  <a:lnTo>
                    <a:pt x="513" y="617"/>
                  </a:lnTo>
                  <a:lnTo>
                    <a:pt x="522" y="595"/>
                  </a:lnTo>
                  <a:lnTo>
                    <a:pt x="529" y="569"/>
                  </a:lnTo>
                  <a:lnTo>
                    <a:pt x="536" y="542"/>
                  </a:lnTo>
                  <a:lnTo>
                    <a:pt x="540" y="512"/>
                  </a:lnTo>
                  <a:lnTo>
                    <a:pt x="544" y="480"/>
                  </a:lnTo>
                  <a:lnTo>
                    <a:pt x="546" y="445"/>
                  </a:lnTo>
                  <a:lnTo>
                    <a:pt x="546" y="408"/>
                  </a:lnTo>
                  <a:lnTo>
                    <a:pt x="546" y="408"/>
                  </a:lnTo>
                  <a:lnTo>
                    <a:pt x="546" y="372"/>
                  </a:lnTo>
                  <a:lnTo>
                    <a:pt x="544" y="337"/>
                  </a:lnTo>
                  <a:lnTo>
                    <a:pt x="540" y="306"/>
                  </a:lnTo>
                  <a:lnTo>
                    <a:pt x="535" y="276"/>
                  </a:lnTo>
                  <a:lnTo>
                    <a:pt x="528" y="249"/>
                  </a:lnTo>
                  <a:lnTo>
                    <a:pt x="520" y="224"/>
                  </a:lnTo>
                  <a:lnTo>
                    <a:pt x="511" y="201"/>
                  </a:lnTo>
                  <a:lnTo>
                    <a:pt x="501" y="180"/>
                  </a:lnTo>
                  <a:lnTo>
                    <a:pt x="501" y="180"/>
                  </a:lnTo>
                  <a:lnTo>
                    <a:pt x="488" y="162"/>
                  </a:lnTo>
                  <a:lnTo>
                    <a:pt x="475" y="146"/>
                  </a:lnTo>
                  <a:lnTo>
                    <a:pt x="459" y="132"/>
                  </a:lnTo>
                  <a:lnTo>
                    <a:pt x="444" y="122"/>
                  </a:lnTo>
                  <a:lnTo>
                    <a:pt x="426" y="113"/>
                  </a:lnTo>
                  <a:lnTo>
                    <a:pt x="406" y="107"/>
                  </a:lnTo>
                  <a:lnTo>
                    <a:pt x="385" y="103"/>
                  </a:lnTo>
                  <a:lnTo>
                    <a:pt x="363" y="102"/>
                  </a:lnTo>
                  <a:lnTo>
                    <a:pt x="363" y="102"/>
                  </a:lnTo>
                  <a:lnTo>
                    <a:pt x="343" y="103"/>
                  </a:lnTo>
                  <a:lnTo>
                    <a:pt x="322" y="107"/>
                  </a:lnTo>
                  <a:lnTo>
                    <a:pt x="304" y="114"/>
                  </a:lnTo>
                  <a:lnTo>
                    <a:pt x="287" y="122"/>
                  </a:lnTo>
                  <a:lnTo>
                    <a:pt x="270" y="133"/>
                  </a:lnTo>
                  <a:lnTo>
                    <a:pt x="256" y="146"/>
                  </a:lnTo>
                  <a:lnTo>
                    <a:pt x="241" y="162"/>
                  </a:lnTo>
                  <a:lnTo>
                    <a:pt x="230" y="181"/>
                  </a:lnTo>
                  <a:lnTo>
                    <a:pt x="230" y="181"/>
                  </a:lnTo>
                  <a:lnTo>
                    <a:pt x="219" y="202"/>
                  </a:lnTo>
                  <a:lnTo>
                    <a:pt x="210" y="224"/>
                  </a:lnTo>
                  <a:lnTo>
                    <a:pt x="203" y="250"/>
                  </a:lnTo>
                  <a:lnTo>
                    <a:pt x="196" y="277"/>
                  </a:lnTo>
                  <a:lnTo>
                    <a:pt x="191" y="306"/>
                  </a:lnTo>
                  <a:lnTo>
                    <a:pt x="187" y="338"/>
                  </a:lnTo>
                  <a:lnTo>
                    <a:pt x="184" y="372"/>
                  </a:lnTo>
                  <a:lnTo>
                    <a:pt x="184" y="408"/>
                  </a:lnTo>
                  <a:lnTo>
                    <a:pt x="184" y="408"/>
                  </a:lnTo>
                  <a:lnTo>
                    <a:pt x="184" y="445"/>
                  </a:lnTo>
                  <a:lnTo>
                    <a:pt x="187" y="480"/>
                  </a:lnTo>
                  <a:lnTo>
                    <a:pt x="191" y="512"/>
                  </a:lnTo>
                  <a:lnTo>
                    <a:pt x="195" y="542"/>
                  </a:lnTo>
                  <a:lnTo>
                    <a:pt x="201" y="569"/>
                  </a:lnTo>
                  <a:lnTo>
                    <a:pt x="209" y="594"/>
                  </a:lnTo>
                  <a:lnTo>
                    <a:pt x="219" y="617"/>
                  </a:lnTo>
                  <a:lnTo>
                    <a:pt x="230" y="636"/>
                  </a:lnTo>
                  <a:lnTo>
                    <a:pt x="230" y="636"/>
                  </a:lnTo>
                  <a:lnTo>
                    <a:pt x="241" y="655"/>
                  </a:lnTo>
                  <a:lnTo>
                    <a:pt x="256" y="672"/>
                  </a:lnTo>
                  <a:lnTo>
                    <a:pt x="270" y="684"/>
                  </a:lnTo>
                  <a:lnTo>
                    <a:pt x="287" y="695"/>
                  </a:lnTo>
                  <a:lnTo>
                    <a:pt x="304" y="704"/>
                  </a:lnTo>
                  <a:lnTo>
                    <a:pt x="323" y="709"/>
                  </a:lnTo>
                  <a:lnTo>
                    <a:pt x="343" y="713"/>
                  </a:lnTo>
                  <a:lnTo>
                    <a:pt x="365" y="714"/>
                  </a:lnTo>
                  <a:close/>
                  <a:moveTo>
                    <a:pt x="365" y="817"/>
                  </a:moveTo>
                  <a:lnTo>
                    <a:pt x="365" y="817"/>
                  </a:lnTo>
                  <a:lnTo>
                    <a:pt x="344" y="817"/>
                  </a:lnTo>
                  <a:lnTo>
                    <a:pt x="323" y="815"/>
                  </a:lnTo>
                  <a:lnTo>
                    <a:pt x="304" y="813"/>
                  </a:lnTo>
                  <a:lnTo>
                    <a:pt x="284" y="810"/>
                  </a:lnTo>
                  <a:lnTo>
                    <a:pt x="266" y="806"/>
                  </a:lnTo>
                  <a:lnTo>
                    <a:pt x="248" y="802"/>
                  </a:lnTo>
                  <a:lnTo>
                    <a:pt x="230" y="797"/>
                  </a:lnTo>
                  <a:lnTo>
                    <a:pt x="213" y="791"/>
                  </a:lnTo>
                  <a:lnTo>
                    <a:pt x="196" y="784"/>
                  </a:lnTo>
                  <a:lnTo>
                    <a:pt x="181" y="777"/>
                  </a:lnTo>
                  <a:lnTo>
                    <a:pt x="165" y="767"/>
                  </a:lnTo>
                  <a:lnTo>
                    <a:pt x="151" y="758"/>
                  </a:lnTo>
                  <a:lnTo>
                    <a:pt x="136" y="748"/>
                  </a:lnTo>
                  <a:lnTo>
                    <a:pt x="122" y="738"/>
                  </a:lnTo>
                  <a:lnTo>
                    <a:pt x="109" y="726"/>
                  </a:lnTo>
                  <a:lnTo>
                    <a:pt x="98" y="713"/>
                  </a:lnTo>
                  <a:lnTo>
                    <a:pt x="98" y="713"/>
                  </a:lnTo>
                  <a:lnTo>
                    <a:pt x="86" y="700"/>
                  </a:lnTo>
                  <a:lnTo>
                    <a:pt x="74" y="686"/>
                  </a:lnTo>
                  <a:lnTo>
                    <a:pt x="64" y="672"/>
                  </a:lnTo>
                  <a:lnTo>
                    <a:pt x="55" y="656"/>
                  </a:lnTo>
                  <a:lnTo>
                    <a:pt x="46" y="640"/>
                  </a:lnTo>
                  <a:lnTo>
                    <a:pt x="38" y="625"/>
                  </a:lnTo>
                  <a:lnTo>
                    <a:pt x="30" y="607"/>
                  </a:lnTo>
                  <a:lnTo>
                    <a:pt x="24" y="590"/>
                  </a:lnTo>
                  <a:lnTo>
                    <a:pt x="18" y="572"/>
                  </a:lnTo>
                  <a:lnTo>
                    <a:pt x="13" y="553"/>
                  </a:lnTo>
                  <a:lnTo>
                    <a:pt x="9" y="534"/>
                  </a:lnTo>
                  <a:lnTo>
                    <a:pt x="5" y="513"/>
                  </a:lnTo>
                  <a:lnTo>
                    <a:pt x="3" y="493"/>
                  </a:lnTo>
                  <a:lnTo>
                    <a:pt x="2" y="472"/>
                  </a:lnTo>
                  <a:lnTo>
                    <a:pt x="0" y="450"/>
                  </a:lnTo>
                  <a:lnTo>
                    <a:pt x="0" y="428"/>
                  </a:lnTo>
                  <a:lnTo>
                    <a:pt x="0" y="428"/>
                  </a:lnTo>
                  <a:lnTo>
                    <a:pt x="0" y="403"/>
                  </a:lnTo>
                  <a:lnTo>
                    <a:pt x="2" y="380"/>
                  </a:lnTo>
                  <a:lnTo>
                    <a:pt x="3" y="356"/>
                  </a:lnTo>
                  <a:lnTo>
                    <a:pt x="7" y="334"/>
                  </a:lnTo>
                  <a:lnTo>
                    <a:pt x="9" y="314"/>
                  </a:lnTo>
                  <a:lnTo>
                    <a:pt x="15" y="292"/>
                  </a:lnTo>
                  <a:lnTo>
                    <a:pt x="20" y="272"/>
                  </a:lnTo>
                  <a:lnTo>
                    <a:pt x="25" y="251"/>
                  </a:lnTo>
                  <a:lnTo>
                    <a:pt x="33" y="233"/>
                  </a:lnTo>
                  <a:lnTo>
                    <a:pt x="40" y="214"/>
                  </a:lnTo>
                  <a:lnTo>
                    <a:pt x="48" y="196"/>
                  </a:lnTo>
                  <a:lnTo>
                    <a:pt x="57" y="179"/>
                  </a:lnTo>
                  <a:lnTo>
                    <a:pt x="68" y="162"/>
                  </a:lnTo>
                  <a:lnTo>
                    <a:pt x="78" y="146"/>
                  </a:lnTo>
                  <a:lnTo>
                    <a:pt x="90" y="131"/>
                  </a:lnTo>
                  <a:lnTo>
                    <a:pt x="103" y="116"/>
                  </a:lnTo>
                  <a:lnTo>
                    <a:pt x="103" y="116"/>
                  </a:lnTo>
                  <a:lnTo>
                    <a:pt x="116" y="102"/>
                  </a:lnTo>
                  <a:lnTo>
                    <a:pt x="130" y="89"/>
                  </a:lnTo>
                  <a:lnTo>
                    <a:pt x="144" y="76"/>
                  </a:lnTo>
                  <a:lnTo>
                    <a:pt x="159" y="65"/>
                  </a:lnTo>
                  <a:lnTo>
                    <a:pt x="174" y="54"/>
                  </a:lnTo>
                  <a:lnTo>
                    <a:pt x="190" y="45"/>
                  </a:lnTo>
                  <a:lnTo>
                    <a:pt x="206" y="36"/>
                  </a:lnTo>
                  <a:lnTo>
                    <a:pt x="223" y="28"/>
                  </a:lnTo>
                  <a:lnTo>
                    <a:pt x="240" y="22"/>
                  </a:lnTo>
                  <a:lnTo>
                    <a:pt x="258" y="17"/>
                  </a:lnTo>
                  <a:lnTo>
                    <a:pt x="277" y="11"/>
                  </a:lnTo>
                  <a:lnTo>
                    <a:pt x="296" y="8"/>
                  </a:lnTo>
                  <a:lnTo>
                    <a:pt x="315" y="4"/>
                  </a:lnTo>
                  <a:lnTo>
                    <a:pt x="335" y="1"/>
                  </a:lnTo>
                  <a:lnTo>
                    <a:pt x="356" y="0"/>
                  </a:lnTo>
                  <a:lnTo>
                    <a:pt x="378" y="0"/>
                  </a:lnTo>
                  <a:lnTo>
                    <a:pt x="378" y="0"/>
                  </a:lnTo>
                  <a:lnTo>
                    <a:pt x="397" y="0"/>
                  </a:lnTo>
                  <a:lnTo>
                    <a:pt x="417" y="1"/>
                  </a:lnTo>
                  <a:lnTo>
                    <a:pt x="435" y="4"/>
                  </a:lnTo>
                  <a:lnTo>
                    <a:pt x="454" y="6"/>
                  </a:lnTo>
                  <a:lnTo>
                    <a:pt x="471" y="10"/>
                  </a:lnTo>
                  <a:lnTo>
                    <a:pt x="489" y="14"/>
                  </a:lnTo>
                  <a:lnTo>
                    <a:pt x="506" y="19"/>
                  </a:lnTo>
                  <a:lnTo>
                    <a:pt x="522" y="26"/>
                  </a:lnTo>
                  <a:lnTo>
                    <a:pt x="538" y="33"/>
                  </a:lnTo>
                  <a:lnTo>
                    <a:pt x="553" y="41"/>
                  </a:lnTo>
                  <a:lnTo>
                    <a:pt x="568" y="49"/>
                  </a:lnTo>
                  <a:lnTo>
                    <a:pt x="583" y="59"/>
                  </a:lnTo>
                  <a:lnTo>
                    <a:pt x="596" y="68"/>
                  </a:lnTo>
                  <a:lnTo>
                    <a:pt x="608" y="80"/>
                  </a:lnTo>
                  <a:lnTo>
                    <a:pt x="621" y="92"/>
                  </a:lnTo>
                  <a:lnTo>
                    <a:pt x="634" y="105"/>
                  </a:lnTo>
                  <a:lnTo>
                    <a:pt x="634" y="105"/>
                  </a:lnTo>
                  <a:lnTo>
                    <a:pt x="646" y="118"/>
                  </a:lnTo>
                  <a:lnTo>
                    <a:pt x="656" y="132"/>
                  </a:lnTo>
                  <a:lnTo>
                    <a:pt x="667" y="146"/>
                  </a:lnTo>
                  <a:lnTo>
                    <a:pt x="676" y="162"/>
                  </a:lnTo>
                  <a:lnTo>
                    <a:pt x="685" y="177"/>
                  </a:lnTo>
                  <a:lnTo>
                    <a:pt x="693" y="194"/>
                  </a:lnTo>
                  <a:lnTo>
                    <a:pt x="699" y="211"/>
                  </a:lnTo>
                  <a:lnTo>
                    <a:pt x="706" y="228"/>
                  </a:lnTo>
                  <a:lnTo>
                    <a:pt x="711" y="246"/>
                  </a:lnTo>
                  <a:lnTo>
                    <a:pt x="716" y="264"/>
                  </a:lnTo>
                  <a:lnTo>
                    <a:pt x="720" y="284"/>
                  </a:lnTo>
                  <a:lnTo>
                    <a:pt x="724" y="303"/>
                  </a:lnTo>
                  <a:lnTo>
                    <a:pt x="726" y="324"/>
                  </a:lnTo>
                  <a:lnTo>
                    <a:pt x="728" y="345"/>
                  </a:lnTo>
                  <a:lnTo>
                    <a:pt x="729" y="387"/>
                  </a:lnTo>
                  <a:lnTo>
                    <a:pt x="729" y="387"/>
                  </a:lnTo>
                  <a:lnTo>
                    <a:pt x="729" y="412"/>
                  </a:lnTo>
                  <a:lnTo>
                    <a:pt x="728" y="435"/>
                  </a:lnTo>
                  <a:lnTo>
                    <a:pt x="726" y="459"/>
                  </a:lnTo>
                  <a:lnTo>
                    <a:pt x="724" y="481"/>
                  </a:lnTo>
                  <a:lnTo>
                    <a:pt x="720" y="503"/>
                  </a:lnTo>
                  <a:lnTo>
                    <a:pt x="716" y="524"/>
                  </a:lnTo>
                  <a:lnTo>
                    <a:pt x="711" y="544"/>
                  </a:lnTo>
                  <a:lnTo>
                    <a:pt x="704" y="564"/>
                  </a:lnTo>
                  <a:lnTo>
                    <a:pt x="698" y="583"/>
                  </a:lnTo>
                  <a:lnTo>
                    <a:pt x="691" y="601"/>
                  </a:lnTo>
                  <a:lnTo>
                    <a:pt x="682" y="620"/>
                  </a:lnTo>
                  <a:lnTo>
                    <a:pt x="673" y="638"/>
                  </a:lnTo>
                  <a:lnTo>
                    <a:pt x="664" y="653"/>
                  </a:lnTo>
                  <a:lnTo>
                    <a:pt x="654" y="670"/>
                  </a:lnTo>
                  <a:lnTo>
                    <a:pt x="642" y="686"/>
                  </a:lnTo>
                  <a:lnTo>
                    <a:pt x="631" y="700"/>
                  </a:lnTo>
                  <a:lnTo>
                    <a:pt x="631" y="700"/>
                  </a:lnTo>
                  <a:lnTo>
                    <a:pt x="618" y="714"/>
                  </a:lnTo>
                  <a:lnTo>
                    <a:pt x="605" y="727"/>
                  </a:lnTo>
                  <a:lnTo>
                    <a:pt x="592" y="740"/>
                  </a:lnTo>
                  <a:lnTo>
                    <a:pt x="577" y="752"/>
                  </a:lnTo>
                  <a:lnTo>
                    <a:pt x="562" y="762"/>
                  </a:lnTo>
                  <a:lnTo>
                    <a:pt x="546" y="771"/>
                  </a:lnTo>
                  <a:lnTo>
                    <a:pt x="531" y="780"/>
                  </a:lnTo>
                  <a:lnTo>
                    <a:pt x="515" y="788"/>
                  </a:lnTo>
                  <a:lnTo>
                    <a:pt x="498" y="795"/>
                  </a:lnTo>
                  <a:lnTo>
                    <a:pt x="480" y="800"/>
                  </a:lnTo>
                  <a:lnTo>
                    <a:pt x="462" y="805"/>
                  </a:lnTo>
                  <a:lnTo>
                    <a:pt x="444" y="809"/>
                  </a:lnTo>
                  <a:lnTo>
                    <a:pt x="426" y="813"/>
                  </a:lnTo>
                  <a:lnTo>
                    <a:pt x="406" y="815"/>
                  </a:lnTo>
                  <a:lnTo>
                    <a:pt x="385" y="817"/>
                  </a:lnTo>
                  <a:lnTo>
                    <a:pt x="365" y="81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24"/>
            <p:cNvSpPr>
              <a:spLocks/>
            </p:cNvSpPr>
            <p:nvPr userDrawn="1"/>
          </p:nvSpPr>
          <p:spPr bwMode="auto">
            <a:xfrm>
              <a:off x="6361" y="1281"/>
              <a:ext cx="121" cy="204"/>
            </a:xfrm>
            <a:custGeom>
              <a:avLst/>
              <a:gdLst>
                <a:gd name="T0" fmla="*/ 181 w 362"/>
                <a:gd name="T1" fmla="*/ 612 h 612"/>
                <a:gd name="T2" fmla="*/ 223 w 362"/>
                <a:gd name="T3" fmla="*/ 607 h 612"/>
                <a:gd name="T4" fmla="*/ 261 w 362"/>
                <a:gd name="T5" fmla="*/ 593 h 612"/>
                <a:gd name="T6" fmla="*/ 292 w 362"/>
                <a:gd name="T7" fmla="*/ 570 h 612"/>
                <a:gd name="T8" fmla="*/ 317 w 362"/>
                <a:gd name="T9" fmla="*/ 536 h 612"/>
                <a:gd name="T10" fmla="*/ 329 w 362"/>
                <a:gd name="T11" fmla="*/ 515 h 612"/>
                <a:gd name="T12" fmla="*/ 345 w 362"/>
                <a:gd name="T13" fmla="*/ 467 h 612"/>
                <a:gd name="T14" fmla="*/ 356 w 362"/>
                <a:gd name="T15" fmla="*/ 410 h 612"/>
                <a:gd name="T16" fmla="*/ 362 w 362"/>
                <a:gd name="T17" fmla="*/ 343 h 612"/>
                <a:gd name="T18" fmla="*/ 362 w 362"/>
                <a:gd name="T19" fmla="*/ 306 h 612"/>
                <a:gd name="T20" fmla="*/ 360 w 362"/>
                <a:gd name="T21" fmla="*/ 235 h 612"/>
                <a:gd name="T22" fmla="*/ 351 w 362"/>
                <a:gd name="T23" fmla="*/ 174 h 612"/>
                <a:gd name="T24" fmla="*/ 336 w 362"/>
                <a:gd name="T25" fmla="*/ 122 h 612"/>
                <a:gd name="T26" fmla="*/ 317 w 362"/>
                <a:gd name="T27" fmla="*/ 78 h 612"/>
                <a:gd name="T28" fmla="*/ 304 w 362"/>
                <a:gd name="T29" fmla="*/ 60 h 612"/>
                <a:gd name="T30" fmla="*/ 275 w 362"/>
                <a:gd name="T31" fmla="*/ 30 h 612"/>
                <a:gd name="T32" fmla="*/ 242 w 362"/>
                <a:gd name="T33" fmla="*/ 11 h 612"/>
                <a:gd name="T34" fmla="*/ 201 w 362"/>
                <a:gd name="T35" fmla="*/ 1 h 612"/>
                <a:gd name="T36" fmla="*/ 179 w 362"/>
                <a:gd name="T37" fmla="*/ 0 h 612"/>
                <a:gd name="T38" fmla="*/ 138 w 362"/>
                <a:gd name="T39" fmla="*/ 5 h 612"/>
                <a:gd name="T40" fmla="*/ 103 w 362"/>
                <a:gd name="T41" fmla="*/ 20 h 612"/>
                <a:gd name="T42" fmla="*/ 72 w 362"/>
                <a:gd name="T43" fmla="*/ 44 h 612"/>
                <a:gd name="T44" fmla="*/ 46 w 362"/>
                <a:gd name="T45" fmla="*/ 79 h 612"/>
                <a:gd name="T46" fmla="*/ 35 w 362"/>
                <a:gd name="T47" fmla="*/ 100 h 612"/>
                <a:gd name="T48" fmla="*/ 19 w 362"/>
                <a:gd name="T49" fmla="*/ 148 h 612"/>
                <a:gd name="T50" fmla="*/ 7 w 362"/>
                <a:gd name="T51" fmla="*/ 204 h 612"/>
                <a:gd name="T52" fmla="*/ 0 w 362"/>
                <a:gd name="T53" fmla="*/ 270 h 612"/>
                <a:gd name="T54" fmla="*/ 0 w 362"/>
                <a:gd name="T55" fmla="*/ 306 h 612"/>
                <a:gd name="T56" fmla="*/ 3 w 362"/>
                <a:gd name="T57" fmla="*/ 378 h 612"/>
                <a:gd name="T58" fmla="*/ 11 w 362"/>
                <a:gd name="T59" fmla="*/ 440 h 612"/>
                <a:gd name="T60" fmla="*/ 25 w 362"/>
                <a:gd name="T61" fmla="*/ 492 h 612"/>
                <a:gd name="T62" fmla="*/ 46 w 362"/>
                <a:gd name="T63" fmla="*/ 534 h 612"/>
                <a:gd name="T64" fmla="*/ 57 w 362"/>
                <a:gd name="T65" fmla="*/ 553 h 612"/>
                <a:gd name="T66" fmla="*/ 86 w 362"/>
                <a:gd name="T67" fmla="*/ 582 h 612"/>
                <a:gd name="T68" fmla="*/ 120 w 362"/>
                <a:gd name="T69" fmla="*/ 602 h 612"/>
                <a:gd name="T70" fmla="*/ 159 w 362"/>
                <a:gd name="T71" fmla="*/ 611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2" h="612">
                  <a:moveTo>
                    <a:pt x="181" y="612"/>
                  </a:moveTo>
                  <a:lnTo>
                    <a:pt x="181" y="612"/>
                  </a:lnTo>
                  <a:lnTo>
                    <a:pt x="203" y="611"/>
                  </a:lnTo>
                  <a:lnTo>
                    <a:pt x="223" y="607"/>
                  </a:lnTo>
                  <a:lnTo>
                    <a:pt x="243" y="602"/>
                  </a:lnTo>
                  <a:lnTo>
                    <a:pt x="261" y="593"/>
                  </a:lnTo>
                  <a:lnTo>
                    <a:pt x="277" y="582"/>
                  </a:lnTo>
                  <a:lnTo>
                    <a:pt x="292" y="570"/>
                  </a:lnTo>
                  <a:lnTo>
                    <a:pt x="305" y="554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29" y="515"/>
                  </a:lnTo>
                  <a:lnTo>
                    <a:pt x="338" y="493"/>
                  </a:lnTo>
                  <a:lnTo>
                    <a:pt x="345" y="467"/>
                  </a:lnTo>
                  <a:lnTo>
                    <a:pt x="352" y="440"/>
                  </a:lnTo>
                  <a:lnTo>
                    <a:pt x="356" y="410"/>
                  </a:lnTo>
                  <a:lnTo>
                    <a:pt x="360" y="378"/>
                  </a:lnTo>
                  <a:lnTo>
                    <a:pt x="362" y="343"/>
                  </a:lnTo>
                  <a:lnTo>
                    <a:pt x="362" y="306"/>
                  </a:lnTo>
                  <a:lnTo>
                    <a:pt x="362" y="306"/>
                  </a:lnTo>
                  <a:lnTo>
                    <a:pt x="362" y="270"/>
                  </a:lnTo>
                  <a:lnTo>
                    <a:pt x="360" y="235"/>
                  </a:lnTo>
                  <a:lnTo>
                    <a:pt x="356" y="204"/>
                  </a:lnTo>
                  <a:lnTo>
                    <a:pt x="351" y="174"/>
                  </a:lnTo>
                  <a:lnTo>
                    <a:pt x="344" y="147"/>
                  </a:lnTo>
                  <a:lnTo>
                    <a:pt x="336" y="122"/>
                  </a:lnTo>
                  <a:lnTo>
                    <a:pt x="327" y="99"/>
                  </a:lnTo>
                  <a:lnTo>
                    <a:pt x="317" y="78"/>
                  </a:lnTo>
                  <a:lnTo>
                    <a:pt x="317" y="78"/>
                  </a:lnTo>
                  <a:lnTo>
                    <a:pt x="304" y="60"/>
                  </a:lnTo>
                  <a:lnTo>
                    <a:pt x="291" y="44"/>
                  </a:lnTo>
                  <a:lnTo>
                    <a:pt x="275" y="30"/>
                  </a:lnTo>
                  <a:lnTo>
                    <a:pt x="260" y="20"/>
                  </a:lnTo>
                  <a:lnTo>
                    <a:pt x="242" y="11"/>
                  </a:lnTo>
                  <a:lnTo>
                    <a:pt x="222" y="5"/>
                  </a:lnTo>
                  <a:lnTo>
                    <a:pt x="201" y="1"/>
                  </a:lnTo>
                  <a:lnTo>
                    <a:pt x="179" y="0"/>
                  </a:lnTo>
                  <a:lnTo>
                    <a:pt x="179" y="0"/>
                  </a:lnTo>
                  <a:lnTo>
                    <a:pt x="159" y="1"/>
                  </a:lnTo>
                  <a:lnTo>
                    <a:pt x="138" y="5"/>
                  </a:lnTo>
                  <a:lnTo>
                    <a:pt x="120" y="12"/>
                  </a:lnTo>
                  <a:lnTo>
                    <a:pt x="103" y="20"/>
                  </a:lnTo>
                  <a:lnTo>
                    <a:pt x="86" y="31"/>
                  </a:lnTo>
                  <a:lnTo>
                    <a:pt x="72" y="44"/>
                  </a:lnTo>
                  <a:lnTo>
                    <a:pt x="57" y="60"/>
                  </a:lnTo>
                  <a:lnTo>
                    <a:pt x="46" y="79"/>
                  </a:lnTo>
                  <a:lnTo>
                    <a:pt x="46" y="79"/>
                  </a:lnTo>
                  <a:lnTo>
                    <a:pt x="35" y="100"/>
                  </a:lnTo>
                  <a:lnTo>
                    <a:pt x="26" y="122"/>
                  </a:lnTo>
                  <a:lnTo>
                    <a:pt x="19" y="148"/>
                  </a:lnTo>
                  <a:lnTo>
                    <a:pt x="12" y="175"/>
                  </a:lnTo>
                  <a:lnTo>
                    <a:pt x="7" y="204"/>
                  </a:lnTo>
                  <a:lnTo>
                    <a:pt x="3" y="236"/>
                  </a:lnTo>
                  <a:lnTo>
                    <a:pt x="0" y="270"/>
                  </a:lnTo>
                  <a:lnTo>
                    <a:pt x="0" y="306"/>
                  </a:lnTo>
                  <a:lnTo>
                    <a:pt x="0" y="306"/>
                  </a:lnTo>
                  <a:lnTo>
                    <a:pt x="0" y="343"/>
                  </a:lnTo>
                  <a:lnTo>
                    <a:pt x="3" y="378"/>
                  </a:lnTo>
                  <a:lnTo>
                    <a:pt x="7" y="410"/>
                  </a:lnTo>
                  <a:lnTo>
                    <a:pt x="11" y="440"/>
                  </a:lnTo>
                  <a:lnTo>
                    <a:pt x="17" y="467"/>
                  </a:lnTo>
                  <a:lnTo>
                    <a:pt x="25" y="492"/>
                  </a:lnTo>
                  <a:lnTo>
                    <a:pt x="35" y="515"/>
                  </a:lnTo>
                  <a:lnTo>
                    <a:pt x="46" y="534"/>
                  </a:lnTo>
                  <a:lnTo>
                    <a:pt x="46" y="534"/>
                  </a:lnTo>
                  <a:lnTo>
                    <a:pt x="57" y="553"/>
                  </a:lnTo>
                  <a:lnTo>
                    <a:pt x="72" y="570"/>
                  </a:lnTo>
                  <a:lnTo>
                    <a:pt x="86" y="582"/>
                  </a:lnTo>
                  <a:lnTo>
                    <a:pt x="103" y="593"/>
                  </a:lnTo>
                  <a:lnTo>
                    <a:pt x="120" y="602"/>
                  </a:lnTo>
                  <a:lnTo>
                    <a:pt x="139" y="607"/>
                  </a:lnTo>
                  <a:lnTo>
                    <a:pt x="159" y="611"/>
                  </a:lnTo>
                  <a:lnTo>
                    <a:pt x="181" y="612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25"/>
            <p:cNvSpPr>
              <a:spLocks/>
            </p:cNvSpPr>
            <p:nvPr userDrawn="1"/>
          </p:nvSpPr>
          <p:spPr bwMode="auto">
            <a:xfrm>
              <a:off x="6300" y="1247"/>
              <a:ext cx="243" cy="272"/>
            </a:xfrm>
            <a:custGeom>
              <a:avLst/>
              <a:gdLst>
                <a:gd name="T0" fmla="*/ 344 w 729"/>
                <a:gd name="T1" fmla="*/ 817 h 817"/>
                <a:gd name="T2" fmla="*/ 284 w 729"/>
                <a:gd name="T3" fmla="*/ 810 h 817"/>
                <a:gd name="T4" fmla="*/ 230 w 729"/>
                <a:gd name="T5" fmla="*/ 797 h 817"/>
                <a:gd name="T6" fmla="*/ 181 w 729"/>
                <a:gd name="T7" fmla="*/ 777 h 817"/>
                <a:gd name="T8" fmla="*/ 136 w 729"/>
                <a:gd name="T9" fmla="*/ 748 h 817"/>
                <a:gd name="T10" fmla="*/ 98 w 729"/>
                <a:gd name="T11" fmla="*/ 713 h 817"/>
                <a:gd name="T12" fmla="*/ 74 w 729"/>
                <a:gd name="T13" fmla="*/ 686 h 817"/>
                <a:gd name="T14" fmla="*/ 46 w 729"/>
                <a:gd name="T15" fmla="*/ 640 h 817"/>
                <a:gd name="T16" fmla="*/ 24 w 729"/>
                <a:gd name="T17" fmla="*/ 590 h 817"/>
                <a:gd name="T18" fmla="*/ 9 w 729"/>
                <a:gd name="T19" fmla="*/ 534 h 817"/>
                <a:gd name="T20" fmla="*/ 2 w 729"/>
                <a:gd name="T21" fmla="*/ 472 h 817"/>
                <a:gd name="T22" fmla="*/ 0 w 729"/>
                <a:gd name="T23" fmla="*/ 428 h 817"/>
                <a:gd name="T24" fmla="*/ 3 w 729"/>
                <a:gd name="T25" fmla="*/ 356 h 817"/>
                <a:gd name="T26" fmla="*/ 15 w 729"/>
                <a:gd name="T27" fmla="*/ 292 h 817"/>
                <a:gd name="T28" fmla="*/ 33 w 729"/>
                <a:gd name="T29" fmla="*/ 233 h 817"/>
                <a:gd name="T30" fmla="*/ 57 w 729"/>
                <a:gd name="T31" fmla="*/ 179 h 817"/>
                <a:gd name="T32" fmla="*/ 90 w 729"/>
                <a:gd name="T33" fmla="*/ 131 h 817"/>
                <a:gd name="T34" fmla="*/ 116 w 729"/>
                <a:gd name="T35" fmla="*/ 102 h 817"/>
                <a:gd name="T36" fmla="*/ 159 w 729"/>
                <a:gd name="T37" fmla="*/ 65 h 817"/>
                <a:gd name="T38" fmla="*/ 206 w 729"/>
                <a:gd name="T39" fmla="*/ 36 h 817"/>
                <a:gd name="T40" fmla="*/ 258 w 729"/>
                <a:gd name="T41" fmla="*/ 17 h 817"/>
                <a:gd name="T42" fmla="*/ 315 w 729"/>
                <a:gd name="T43" fmla="*/ 4 h 817"/>
                <a:gd name="T44" fmla="*/ 378 w 729"/>
                <a:gd name="T45" fmla="*/ 0 h 817"/>
                <a:gd name="T46" fmla="*/ 417 w 729"/>
                <a:gd name="T47" fmla="*/ 1 h 817"/>
                <a:gd name="T48" fmla="*/ 471 w 729"/>
                <a:gd name="T49" fmla="*/ 10 h 817"/>
                <a:gd name="T50" fmla="*/ 522 w 729"/>
                <a:gd name="T51" fmla="*/ 26 h 817"/>
                <a:gd name="T52" fmla="*/ 568 w 729"/>
                <a:gd name="T53" fmla="*/ 49 h 817"/>
                <a:gd name="T54" fmla="*/ 608 w 729"/>
                <a:gd name="T55" fmla="*/ 80 h 817"/>
                <a:gd name="T56" fmla="*/ 634 w 729"/>
                <a:gd name="T57" fmla="*/ 105 h 817"/>
                <a:gd name="T58" fmla="*/ 667 w 729"/>
                <a:gd name="T59" fmla="*/ 146 h 817"/>
                <a:gd name="T60" fmla="*/ 693 w 729"/>
                <a:gd name="T61" fmla="*/ 194 h 817"/>
                <a:gd name="T62" fmla="*/ 711 w 729"/>
                <a:gd name="T63" fmla="*/ 246 h 817"/>
                <a:gd name="T64" fmla="*/ 724 w 729"/>
                <a:gd name="T65" fmla="*/ 303 h 817"/>
                <a:gd name="T66" fmla="*/ 729 w 729"/>
                <a:gd name="T67" fmla="*/ 387 h 817"/>
                <a:gd name="T68" fmla="*/ 728 w 729"/>
                <a:gd name="T69" fmla="*/ 435 h 817"/>
                <a:gd name="T70" fmla="*/ 720 w 729"/>
                <a:gd name="T71" fmla="*/ 503 h 817"/>
                <a:gd name="T72" fmla="*/ 704 w 729"/>
                <a:gd name="T73" fmla="*/ 564 h 817"/>
                <a:gd name="T74" fmla="*/ 682 w 729"/>
                <a:gd name="T75" fmla="*/ 620 h 817"/>
                <a:gd name="T76" fmla="*/ 654 w 729"/>
                <a:gd name="T77" fmla="*/ 670 h 817"/>
                <a:gd name="T78" fmla="*/ 631 w 729"/>
                <a:gd name="T79" fmla="*/ 700 h 817"/>
                <a:gd name="T80" fmla="*/ 592 w 729"/>
                <a:gd name="T81" fmla="*/ 740 h 817"/>
                <a:gd name="T82" fmla="*/ 546 w 729"/>
                <a:gd name="T83" fmla="*/ 771 h 817"/>
                <a:gd name="T84" fmla="*/ 498 w 729"/>
                <a:gd name="T85" fmla="*/ 795 h 817"/>
                <a:gd name="T86" fmla="*/ 444 w 729"/>
                <a:gd name="T87" fmla="*/ 809 h 817"/>
                <a:gd name="T88" fmla="*/ 385 w 729"/>
                <a:gd name="T89" fmla="*/ 81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29" h="817">
                  <a:moveTo>
                    <a:pt x="365" y="817"/>
                  </a:moveTo>
                  <a:lnTo>
                    <a:pt x="365" y="817"/>
                  </a:lnTo>
                  <a:lnTo>
                    <a:pt x="344" y="817"/>
                  </a:lnTo>
                  <a:lnTo>
                    <a:pt x="323" y="815"/>
                  </a:lnTo>
                  <a:lnTo>
                    <a:pt x="304" y="813"/>
                  </a:lnTo>
                  <a:lnTo>
                    <a:pt x="284" y="810"/>
                  </a:lnTo>
                  <a:lnTo>
                    <a:pt x="266" y="806"/>
                  </a:lnTo>
                  <a:lnTo>
                    <a:pt x="248" y="802"/>
                  </a:lnTo>
                  <a:lnTo>
                    <a:pt x="230" y="797"/>
                  </a:lnTo>
                  <a:lnTo>
                    <a:pt x="213" y="791"/>
                  </a:lnTo>
                  <a:lnTo>
                    <a:pt x="196" y="784"/>
                  </a:lnTo>
                  <a:lnTo>
                    <a:pt x="181" y="777"/>
                  </a:lnTo>
                  <a:lnTo>
                    <a:pt x="165" y="767"/>
                  </a:lnTo>
                  <a:lnTo>
                    <a:pt x="151" y="758"/>
                  </a:lnTo>
                  <a:lnTo>
                    <a:pt x="136" y="748"/>
                  </a:lnTo>
                  <a:lnTo>
                    <a:pt x="122" y="738"/>
                  </a:lnTo>
                  <a:lnTo>
                    <a:pt x="109" y="726"/>
                  </a:lnTo>
                  <a:lnTo>
                    <a:pt x="98" y="713"/>
                  </a:lnTo>
                  <a:lnTo>
                    <a:pt x="98" y="713"/>
                  </a:lnTo>
                  <a:lnTo>
                    <a:pt x="86" y="700"/>
                  </a:lnTo>
                  <a:lnTo>
                    <a:pt x="74" y="686"/>
                  </a:lnTo>
                  <a:lnTo>
                    <a:pt x="64" y="672"/>
                  </a:lnTo>
                  <a:lnTo>
                    <a:pt x="55" y="656"/>
                  </a:lnTo>
                  <a:lnTo>
                    <a:pt x="46" y="640"/>
                  </a:lnTo>
                  <a:lnTo>
                    <a:pt x="38" y="625"/>
                  </a:lnTo>
                  <a:lnTo>
                    <a:pt x="30" y="607"/>
                  </a:lnTo>
                  <a:lnTo>
                    <a:pt x="24" y="590"/>
                  </a:lnTo>
                  <a:lnTo>
                    <a:pt x="18" y="572"/>
                  </a:lnTo>
                  <a:lnTo>
                    <a:pt x="13" y="553"/>
                  </a:lnTo>
                  <a:lnTo>
                    <a:pt x="9" y="534"/>
                  </a:lnTo>
                  <a:lnTo>
                    <a:pt x="5" y="513"/>
                  </a:lnTo>
                  <a:lnTo>
                    <a:pt x="3" y="493"/>
                  </a:lnTo>
                  <a:lnTo>
                    <a:pt x="2" y="472"/>
                  </a:lnTo>
                  <a:lnTo>
                    <a:pt x="0" y="450"/>
                  </a:lnTo>
                  <a:lnTo>
                    <a:pt x="0" y="428"/>
                  </a:lnTo>
                  <a:lnTo>
                    <a:pt x="0" y="428"/>
                  </a:lnTo>
                  <a:lnTo>
                    <a:pt x="0" y="403"/>
                  </a:lnTo>
                  <a:lnTo>
                    <a:pt x="2" y="380"/>
                  </a:lnTo>
                  <a:lnTo>
                    <a:pt x="3" y="356"/>
                  </a:lnTo>
                  <a:lnTo>
                    <a:pt x="7" y="334"/>
                  </a:lnTo>
                  <a:lnTo>
                    <a:pt x="9" y="314"/>
                  </a:lnTo>
                  <a:lnTo>
                    <a:pt x="15" y="292"/>
                  </a:lnTo>
                  <a:lnTo>
                    <a:pt x="20" y="272"/>
                  </a:lnTo>
                  <a:lnTo>
                    <a:pt x="25" y="251"/>
                  </a:lnTo>
                  <a:lnTo>
                    <a:pt x="33" y="233"/>
                  </a:lnTo>
                  <a:lnTo>
                    <a:pt x="40" y="214"/>
                  </a:lnTo>
                  <a:lnTo>
                    <a:pt x="48" y="196"/>
                  </a:lnTo>
                  <a:lnTo>
                    <a:pt x="57" y="179"/>
                  </a:lnTo>
                  <a:lnTo>
                    <a:pt x="68" y="162"/>
                  </a:lnTo>
                  <a:lnTo>
                    <a:pt x="78" y="146"/>
                  </a:lnTo>
                  <a:lnTo>
                    <a:pt x="90" y="131"/>
                  </a:lnTo>
                  <a:lnTo>
                    <a:pt x="103" y="116"/>
                  </a:lnTo>
                  <a:lnTo>
                    <a:pt x="103" y="116"/>
                  </a:lnTo>
                  <a:lnTo>
                    <a:pt x="116" y="102"/>
                  </a:lnTo>
                  <a:lnTo>
                    <a:pt x="130" y="89"/>
                  </a:lnTo>
                  <a:lnTo>
                    <a:pt x="144" y="76"/>
                  </a:lnTo>
                  <a:lnTo>
                    <a:pt x="159" y="65"/>
                  </a:lnTo>
                  <a:lnTo>
                    <a:pt x="174" y="54"/>
                  </a:lnTo>
                  <a:lnTo>
                    <a:pt x="190" y="45"/>
                  </a:lnTo>
                  <a:lnTo>
                    <a:pt x="206" y="36"/>
                  </a:lnTo>
                  <a:lnTo>
                    <a:pt x="223" y="28"/>
                  </a:lnTo>
                  <a:lnTo>
                    <a:pt x="240" y="22"/>
                  </a:lnTo>
                  <a:lnTo>
                    <a:pt x="258" y="17"/>
                  </a:lnTo>
                  <a:lnTo>
                    <a:pt x="277" y="11"/>
                  </a:lnTo>
                  <a:lnTo>
                    <a:pt x="296" y="8"/>
                  </a:lnTo>
                  <a:lnTo>
                    <a:pt x="315" y="4"/>
                  </a:lnTo>
                  <a:lnTo>
                    <a:pt x="335" y="1"/>
                  </a:lnTo>
                  <a:lnTo>
                    <a:pt x="356" y="0"/>
                  </a:lnTo>
                  <a:lnTo>
                    <a:pt x="378" y="0"/>
                  </a:lnTo>
                  <a:lnTo>
                    <a:pt x="378" y="0"/>
                  </a:lnTo>
                  <a:lnTo>
                    <a:pt x="397" y="0"/>
                  </a:lnTo>
                  <a:lnTo>
                    <a:pt x="417" y="1"/>
                  </a:lnTo>
                  <a:lnTo>
                    <a:pt x="435" y="4"/>
                  </a:lnTo>
                  <a:lnTo>
                    <a:pt x="454" y="6"/>
                  </a:lnTo>
                  <a:lnTo>
                    <a:pt x="471" y="10"/>
                  </a:lnTo>
                  <a:lnTo>
                    <a:pt x="489" y="14"/>
                  </a:lnTo>
                  <a:lnTo>
                    <a:pt x="506" y="19"/>
                  </a:lnTo>
                  <a:lnTo>
                    <a:pt x="522" y="26"/>
                  </a:lnTo>
                  <a:lnTo>
                    <a:pt x="538" y="33"/>
                  </a:lnTo>
                  <a:lnTo>
                    <a:pt x="553" y="41"/>
                  </a:lnTo>
                  <a:lnTo>
                    <a:pt x="568" y="49"/>
                  </a:lnTo>
                  <a:lnTo>
                    <a:pt x="583" y="59"/>
                  </a:lnTo>
                  <a:lnTo>
                    <a:pt x="596" y="68"/>
                  </a:lnTo>
                  <a:lnTo>
                    <a:pt x="608" y="80"/>
                  </a:lnTo>
                  <a:lnTo>
                    <a:pt x="621" y="92"/>
                  </a:lnTo>
                  <a:lnTo>
                    <a:pt x="634" y="105"/>
                  </a:lnTo>
                  <a:lnTo>
                    <a:pt x="634" y="105"/>
                  </a:lnTo>
                  <a:lnTo>
                    <a:pt x="646" y="118"/>
                  </a:lnTo>
                  <a:lnTo>
                    <a:pt x="656" y="132"/>
                  </a:lnTo>
                  <a:lnTo>
                    <a:pt x="667" y="146"/>
                  </a:lnTo>
                  <a:lnTo>
                    <a:pt x="676" y="162"/>
                  </a:lnTo>
                  <a:lnTo>
                    <a:pt x="685" y="177"/>
                  </a:lnTo>
                  <a:lnTo>
                    <a:pt x="693" y="194"/>
                  </a:lnTo>
                  <a:lnTo>
                    <a:pt x="699" y="211"/>
                  </a:lnTo>
                  <a:lnTo>
                    <a:pt x="706" y="228"/>
                  </a:lnTo>
                  <a:lnTo>
                    <a:pt x="711" y="246"/>
                  </a:lnTo>
                  <a:lnTo>
                    <a:pt x="716" y="264"/>
                  </a:lnTo>
                  <a:lnTo>
                    <a:pt x="720" y="284"/>
                  </a:lnTo>
                  <a:lnTo>
                    <a:pt x="724" y="303"/>
                  </a:lnTo>
                  <a:lnTo>
                    <a:pt x="726" y="324"/>
                  </a:lnTo>
                  <a:lnTo>
                    <a:pt x="728" y="345"/>
                  </a:lnTo>
                  <a:lnTo>
                    <a:pt x="729" y="387"/>
                  </a:lnTo>
                  <a:lnTo>
                    <a:pt x="729" y="387"/>
                  </a:lnTo>
                  <a:lnTo>
                    <a:pt x="729" y="412"/>
                  </a:lnTo>
                  <a:lnTo>
                    <a:pt x="728" y="435"/>
                  </a:lnTo>
                  <a:lnTo>
                    <a:pt x="726" y="459"/>
                  </a:lnTo>
                  <a:lnTo>
                    <a:pt x="724" y="481"/>
                  </a:lnTo>
                  <a:lnTo>
                    <a:pt x="720" y="503"/>
                  </a:lnTo>
                  <a:lnTo>
                    <a:pt x="716" y="524"/>
                  </a:lnTo>
                  <a:lnTo>
                    <a:pt x="711" y="544"/>
                  </a:lnTo>
                  <a:lnTo>
                    <a:pt x="704" y="564"/>
                  </a:lnTo>
                  <a:lnTo>
                    <a:pt x="698" y="583"/>
                  </a:lnTo>
                  <a:lnTo>
                    <a:pt x="691" y="601"/>
                  </a:lnTo>
                  <a:lnTo>
                    <a:pt x="682" y="620"/>
                  </a:lnTo>
                  <a:lnTo>
                    <a:pt x="673" y="638"/>
                  </a:lnTo>
                  <a:lnTo>
                    <a:pt x="664" y="653"/>
                  </a:lnTo>
                  <a:lnTo>
                    <a:pt x="654" y="670"/>
                  </a:lnTo>
                  <a:lnTo>
                    <a:pt x="642" y="686"/>
                  </a:lnTo>
                  <a:lnTo>
                    <a:pt x="631" y="700"/>
                  </a:lnTo>
                  <a:lnTo>
                    <a:pt x="631" y="700"/>
                  </a:lnTo>
                  <a:lnTo>
                    <a:pt x="618" y="714"/>
                  </a:lnTo>
                  <a:lnTo>
                    <a:pt x="605" y="727"/>
                  </a:lnTo>
                  <a:lnTo>
                    <a:pt x="592" y="740"/>
                  </a:lnTo>
                  <a:lnTo>
                    <a:pt x="577" y="752"/>
                  </a:lnTo>
                  <a:lnTo>
                    <a:pt x="562" y="762"/>
                  </a:lnTo>
                  <a:lnTo>
                    <a:pt x="546" y="771"/>
                  </a:lnTo>
                  <a:lnTo>
                    <a:pt x="531" y="780"/>
                  </a:lnTo>
                  <a:lnTo>
                    <a:pt x="515" y="788"/>
                  </a:lnTo>
                  <a:lnTo>
                    <a:pt x="498" y="795"/>
                  </a:lnTo>
                  <a:lnTo>
                    <a:pt x="480" y="800"/>
                  </a:lnTo>
                  <a:lnTo>
                    <a:pt x="462" y="805"/>
                  </a:lnTo>
                  <a:lnTo>
                    <a:pt x="444" y="809"/>
                  </a:lnTo>
                  <a:lnTo>
                    <a:pt x="426" y="813"/>
                  </a:lnTo>
                  <a:lnTo>
                    <a:pt x="406" y="815"/>
                  </a:lnTo>
                  <a:lnTo>
                    <a:pt x="385" y="817"/>
                  </a:lnTo>
                  <a:lnTo>
                    <a:pt x="365" y="817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26"/>
            <p:cNvSpPr>
              <a:spLocks/>
            </p:cNvSpPr>
            <p:nvPr userDrawn="1"/>
          </p:nvSpPr>
          <p:spPr bwMode="auto">
            <a:xfrm>
              <a:off x="5645" y="1252"/>
              <a:ext cx="258" cy="267"/>
            </a:xfrm>
            <a:custGeom>
              <a:avLst/>
              <a:gdLst>
                <a:gd name="T0" fmla="*/ 77 w 774"/>
                <a:gd name="T1" fmla="*/ 99 h 802"/>
                <a:gd name="T2" fmla="*/ 0 w 774"/>
                <a:gd name="T3" fmla="*/ 0 h 802"/>
                <a:gd name="T4" fmla="*/ 326 w 774"/>
                <a:gd name="T5" fmla="*/ 74 h 802"/>
                <a:gd name="T6" fmla="*/ 247 w 774"/>
                <a:gd name="T7" fmla="*/ 503 h 802"/>
                <a:gd name="T8" fmla="*/ 249 w 774"/>
                <a:gd name="T9" fmla="*/ 528 h 802"/>
                <a:gd name="T10" fmla="*/ 253 w 774"/>
                <a:gd name="T11" fmla="*/ 572 h 802"/>
                <a:gd name="T12" fmla="*/ 262 w 774"/>
                <a:gd name="T13" fmla="*/ 610 h 802"/>
                <a:gd name="T14" fmla="*/ 276 w 774"/>
                <a:gd name="T15" fmla="*/ 638 h 802"/>
                <a:gd name="T16" fmla="*/ 285 w 774"/>
                <a:gd name="T17" fmla="*/ 651 h 802"/>
                <a:gd name="T18" fmla="*/ 306 w 774"/>
                <a:gd name="T19" fmla="*/ 671 h 802"/>
                <a:gd name="T20" fmla="*/ 333 w 774"/>
                <a:gd name="T21" fmla="*/ 684 h 802"/>
                <a:gd name="T22" fmla="*/ 365 w 774"/>
                <a:gd name="T23" fmla="*/ 693 h 802"/>
                <a:gd name="T24" fmla="*/ 403 w 774"/>
                <a:gd name="T25" fmla="*/ 695 h 802"/>
                <a:gd name="T26" fmla="*/ 422 w 774"/>
                <a:gd name="T27" fmla="*/ 695 h 802"/>
                <a:gd name="T28" fmla="*/ 457 w 774"/>
                <a:gd name="T29" fmla="*/ 690 h 802"/>
                <a:gd name="T30" fmla="*/ 486 w 774"/>
                <a:gd name="T31" fmla="*/ 680 h 802"/>
                <a:gd name="T32" fmla="*/ 509 w 774"/>
                <a:gd name="T33" fmla="*/ 664 h 802"/>
                <a:gd name="T34" fmla="*/ 518 w 774"/>
                <a:gd name="T35" fmla="*/ 655 h 802"/>
                <a:gd name="T36" fmla="*/ 534 w 774"/>
                <a:gd name="T37" fmla="*/ 631 h 802"/>
                <a:gd name="T38" fmla="*/ 544 w 774"/>
                <a:gd name="T39" fmla="*/ 599 h 802"/>
                <a:gd name="T40" fmla="*/ 551 w 774"/>
                <a:gd name="T41" fmla="*/ 561 h 802"/>
                <a:gd name="T42" fmla="*/ 553 w 774"/>
                <a:gd name="T43" fmla="*/ 514 h 802"/>
                <a:gd name="T44" fmla="*/ 476 w 774"/>
                <a:gd name="T45" fmla="*/ 74 h 802"/>
                <a:gd name="T46" fmla="*/ 774 w 774"/>
                <a:gd name="T47" fmla="*/ 0 h 802"/>
                <a:gd name="T48" fmla="*/ 696 w 774"/>
                <a:gd name="T49" fmla="*/ 99 h 802"/>
                <a:gd name="T50" fmla="*/ 696 w 774"/>
                <a:gd name="T51" fmla="*/ 494 h 802"/>
                <a:gd name="T52" fmla="*/ 693 w 774"/>
                <a:gd name="T53" fmla="*/ 574 h 802"/>
                <a:gd name="T54" fmla="*/ 687 w 774"/>
                <a:gd name="T55" fmla="*/ 628 h 802"/>
                <a:gd name="T56" fmla="*/ 680 w 774"/>
                <a:gd name="T57" fmla="*/ 649 h 802"/>
                <a:gd name="T58" fmla="*/ 664 w 774"/>
                <a:gd name="T59" fmla="*/ 685 h 802"/>
                <a:gd name="T60" fmla="*/ 652 w 774"/>
                <a:gd name="T61" fmla="*/ 701 h 802"/>
                <a:gd name="T62" fmla="*/ 630 w 774"/>
                <a:gd name="T63" fmla="*/ 724 h 802"/>
                <a:gd name="T64" fmla="*/ 605 w 774"/>
                <a:gd name="T65" fmla="*/ 745 h 802"/>
                <a:gd name="T66" fmla="*/ 577 w 774"/>
                <a:gd name="T67" fmla="*/ 762 h 802"/>
                <a:gd name="T68" fmla="*/ 546 w 774"/>
                <a:gd name="T69" fmla="*/ 776 h 802"/>
                <a:gd name="T70" fmla="*/ 529 w 774"/>
                <a:gd name="T71" fmla="*/ 782 h 802"/>
                <a:gd name="T72" fmla="*/ 491 w 774"/>
                <a:gd name="T73" fmla="*/ 791 h 802"/>
                <a:gd name="T74" fmla="*/ 452 w 774"/>
                <a:gd name="T75" fmla="*/ 798 h 802"/>
                <a:gd name="T76" fmla="*/ 409 w 774"/>
                <a:gd name="T77" fmla="*/ 802 h 802"/>
                <a:gd name="T78" fmla="*/ 386 w 774"/>
                <a:gd name="T79" fmla="*/ 802 h 802"/>
                <a:gd name="T80" fmla="*/ 308 w 774"/>
                <a:gd name="T81" fmla="*/ 798 h 802"/>
                <a:gd name="T82" fmla="*/ 243 w 774"/>
                <a:gd name="T83" fmla="*/ 785 h 802"/>
                <a:gd name="T84" fmla="*/ 202 w 774"/>
                <a:gd name="T85" fmla="*/ 771 h 802"/>
                <a:gd name="T86" fmla="*/ 179 w 774"/>
                <a:gd name="T87" fmla="*/ 758 h 802"/>
                <a:gd name="T88" fmla="*/ 158 w 774"/>
                <a:gd name="T89" fmla="*/ 743 h 802"/>
                <a:gd name="T90" fmla="*/ 148 w 774"/>
                <a:gd name="T91" fmla="*/ 736 h 802"/>
                <a:gd name="T92" fmla="*/ 132 w 774"/>
                <a:gd name="T93" fmla="*/ 717 h 802"/>
                <a:gd name="T94" fmla="*/ 116 w 774"/>
                <a:gd name="T95" fmla="*/ 697 h 802"/>
                <a:gd name="T96" fmla="*/ 105 w 774"/>
                <a:gd name="T97" fmla="*/ 673 h 802"/>
                <a:gd name="T98" fmla="*/ 87 w 774"/>
                <a:gd name="T99" fmla="*/ 616 h 802"/>
                <a:gd name="T100" fmla="*/ 77 w 774"/>
                <a:gd name="T101" fmla="*/ 549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74" h="802">
                  <a:moveTo>
                    <a:pt x="77" y="510"/>
                  </a:moveTo>
                  <a:lnTo>
                    <a:pt x="77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326" y="0"/>
                  </a:lnTo>
                  <a:lnTo>
                    <a:pt x="326" y="74"/>
                  </a:lnTo>
                  <a:lnTo>
                    <a:pt x="247" y="99"/>
                  </a:lnTo>
                  <a:lnTo>
                    <a:pt x="247" y="503"/>
                  </a:lnTo>
                  <a:lnTo>
                    <a:pt x="247" y="503"/>
                  </a:lnTo>
                  <a:lnTo>
                    <a:pt x="249" y="528"/>
                  </a:lnTo>
                  <a:lnTo>
                    <a:pt x="250" y="551"/>
                  </a:lnTo>
                  <a:lnTo>
                    <a:pt x="253" y="572"/>
                  </a:lnTo>
                  <a:lnTo>
                    <a:pt x="256" y="592"/>
                  </a:lnTo>
                  <a:lnTo>
                    <a:pt x="262" y="610"/>
                  </a:lnTo>
                  <a:lnTo>
                    <a:pt x="268" y="625"/>
                  </a:lnTo>
                  <a:lnTo>
                    <a:pt x="276" y="638"/>
                  </a:lnTo>
                  <a:lnTo>
                    <a:pt x="285" y="651"/>
                  </a:lnTo>
                  <a:lnTo>
                    <a:pt x="285" y="651"/>
                  </a:lnTo>
                  <a:lnTo>
                    <a:pt x="294" y="662"/>
                  </a:lnTo>
                  <a:lnTo>
                    <a:pt x="306" y="671"/>
                  </a:lnTo>
                  <a:lnTo>
                    <a:pt x="319" y="679"/>
                  </a:lnTo>
                  <a:lnTo>
                    <a:pt x="333" y="684"/>
                  </a:lnTo>
                  <a:lnTo>
                    <a:pt x="349" y="689"/>
                  </a:lnTo>
                  <a:lnTo>
                    <a:pt x="365" y="693"/>
                  </a:lnTo>
                  <a:lnTo>
                    <a:pt x="384" y="695"/>
                  </a:lnTo>
                  <a:lnTo>
                    <a:pt x="403" y="695"/>
                  </a:lnTo>
                  <a:lnTo>
                    <a:pt x="403" y="695"/>
                  </a:lnTo>
                  <a:lnTo>
                    <a:pt x="422" y="695"/>
                  </a:lnTo>
                  <a:lnTo>
                    <a:pt x="441" y="693"/>
                  </a:lnTo>
                  <a:lnTo>
                    <a:pt x="457" y="690"/>
                  </a:lnTo>
                  <a:lnTo>
                    <a:pt x="473" y="685"/>
                  </a:lnTo>
                  <a:lnTo>
                    <a:pt x="486" y="680"/>
                  </a:lnTo>
                  <a:lnTo>
                    <a:pt x="499" y="672"/>
                  </a:lnTo>
                  <a:lnTo>
                    <a:pt x="509" y="664"/>
                  </a:lnTo>
                  <a:lnTo>
                    <a:pt x="518" y="655"/>
                  </a:lnTo>
                  <a:lnTo>
                    <a:pt x="518" y="655"/>
                  </a:lnTo>
                  <a:lnTo>
                    <a:pt x="526" y="644"/>
                  </a:lnTo>
                  <a:lnTo>
                    <a:pt x="534" y="631"/>
                  </a:lnTo>
                  <a:lnTo>
                    <a:pt x="539" y="616"/>
                  </a:lnTo>
                  <a:lnTo>
                    <a:pt x="544" y="599"/>
                  </a:lnTo>
                  <a:lnTo>
                    <a:pt x="548" y="580"/>
                  </a:lnTo>
                  <a:lnTo>
                    <a:pt x="551" y="561"/>
                  </a:lnTo>
                  <a:lnTo>
                    <a:pt x="552" y="538"/>
                  </a:lnTo>
                  <a:lnTo>
                    <a:pt x="553" y="514"/>
                  </a:lnTo>
                  <a:lnTo>
                    <a:pt x="553" y="99"/>
                  </a:lnTo>
                  <a:lnTo>
                    <a:pt x="476" y="74"/>
                  </a:lnTo>
                  <a:lnTo>
                    <a:pt x="476" y="0"/>
                  </a:lnTo>
                  <a:lnTo>
                    <a:pt x="774" y="0"/>
                  </a:lnTo>
                  <a:lnTo>
                    <a:pt x="774" y="74"/>
                  </a:lnTo>
                  <a:lnTo>
                    <a:pt x="696" y="99"/>
                  </a:lnTo>
                  <a:lnTo>
                    <a:pt x="696" y="494"/>
                  </a:lnTo>
                  <a:lnTo>
                    <a:pt x="696" y="494"/>
                  </a:lnTo>
                  <a:lnTo>
                    <a:pt x="696" y="537"/>
                  </a:lnTo>
                  <a:lnTo>
                    <a:pt x="693" y="574"/>
                  </a:lnTo>
                  <a:lnTo>
                    <a:pt x="691" y="605"/>
                  </a:lnTo>
                  <a:lnTo>
                    <a:pt x="687" y="628"/>
                  </a:lnTo>
                  <a:lnTo>
                    <a:pt x="687" y="628"/>
                  </a:lnTo>
                  <a:lnTo>
                    <a:pt x="680" y="649"/>
                  </a:lnTo>
                  <a:lnTo>
                    <a:pt x="673" y="668"/>
                  </a:lnTo>
                  <a:lnTo>
                    <a:pt x="664" y="685"/>
                  </a:lnTo>
                  <a:lnTo>
                    <a:pt x="652" y="701"/>
                  </a:lnTo>
                  <a:lnTo>
                    <a:pt x="652" y="701"/>
                  </a:lnTo>
                  <a:lnTo>
                    <a:pt x="642" y="712"/>
                  </a:lnTo>
                  <a:lnTo>
                    <a:pt x="630" y="724"/>
                  </a:lnTo>
                  <a:lnTo>
                    <a:pt x="618" y="734"/>
                  </a:lnTo>
                  <a:lnTo>
                    <a:pt x="605" y="745"/>
                  </a:lnTo>
                  <a:lnTo>
                    <a:pt x="591" y="754"/>
                  </a:lnTo>
                  <a:lnTo>
                    <a:pt x="577" y="762"/>
                  </a:lnTo>
                  <a:lnTo>
                    <a:pt x="561" y="769"/>
                  </a:lnTo>
                  <a:lnTo>
                    <a:pt x="546" y="776"/>
                  </a:lnTo>
                  <a:lnTo>
                    <a:pt x="546" y="776"/>
                  </a:lnTo>
                  <a:lnTo>
                    <a:pt x="529" y="782"/>
                  </a:lnTo>
                  <a:lnTo>
                    <a:pt x="511" y="787"/>
                  </a:lnTo>
                  <a:lnTo>
                    <a:pt x="491" y="791"/>
                  </a:lnTo>
                  <a:lnTo>
                    <a:pt x="472" y="795"/>
                  </a:lnTo>
                  <a:lnTo>
                    <a:pt x="452" y="798"/>
                  </a:lnTo>
                  <a:lnTo>
                    <a:pt x="432" y="800"/>
                  </a:lnTo>
                  <a:lnTo>
                    <a:pt x="409" y="802"/>
                  </a:lnTo>
                  <a:lnTo>
                    <a:pt x="386" y="802"/>
                  </a:lnTo>
                  <a:lnTo>
                    <a:pt x="386" y="802"/>
                  </a:lnTo>
                  <a:lnTo>
                    <a:pt x="346" y="800"/>
                  </a:lnTo>
                  <a:lnTo>
                    <a:pt x="308" y="798"/>
                  </a:lnTo>
                  <a:lnTo>
                    <a:pt x="275" y="793"/>
                  </a:lnTo>
                  <a:lnTo>
                    <a:pt x="243" y="785"/>
                  </a:lnTo>
                  <a:lnTo>
                    <a:pt x="215" y="776"/>
                  </a:lnTo>
                  <a:lnTo>
                    <a:pt x="202" y="771"/>
                  </a:lnTo>
                  <a:lnTo>
                    <a:pt x="190" y="764"/>
                  </a:lnTo>
                  <a:lnTo>
                    <a:pt x="179" y="758"/>
                  </a:lnTo>
                  <a:lnTo>
                    <a:pt x="167" y="751"/>
                  </a:lnTo>
                  <a:lnTo>
                    <a:pt x="158" y="743"/>
                  </a:lnTo>
                  <a:lnTo>
                    <a:pt x="148" y="736"/>
                  </a:lnTo>
                  <a:lnTo>
                    <a:pt x="148" y="736"/>
                  </a:lnTo>
                  <a:lnTo>
                    <a:pt x="140" y="727"/>
                  </a:lnTo>
                  <a:lnTo>
                    <a:pt x="132" y="717"/>
                  </a:lnTo>
                  <a:lnTo>
                    <a:pt x="124" y="707"/>
                  </a:lnTo>
                  <a:lnTo>
                    <a:pt x="116" y="697"/>
                  </a:lnTo>
                  <a:lnTo>
                    <a:pt x="111" y="685"/>
                  </a:lnTo>
                  <a:lnTo>
                    <a:pt x="105" y="673"/>
                  </a:lnTo>
                  <a:lnTo>
                    <a:pt x="94" y="646"/>
                  </a:lnTo>
                  <a:lnTo>
                    <a:pt x="87" y="616"/>
                  </a:lnTo>
                  <a:lnTo>
                    <a:pt x="81" y="584"/>
                  </a:lnTo>
                  <a:lnTo>
                    <a:pt x="77" y="549"/>
                  </a:lnTo>
                  <a:lnTo>
                    <a:pt x="77" y="5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27"/>
            <p:cNvSpPr>
              <a:spLocks/>
            </p:cNvSpPr>
            <p:nvPr userDrawn="1"/>
          </p:nvSpPr>
          <p:spPr bwMode="auto">
            <a:xfrm>
              <a:off x="5645" y="1252"/>
              <a:ext cx="258" cy="267"/>
            </a:xfrm>
            <a:custGeom>
              <a:avLst/>
              <a:gdLst>
                <a:gd name="T0" fmla="*/ 77 w 774"/>
                <a:gd name="T1" fmla="*/ 99 h 802"/>
                <a:gd name="T2" fmla="*/ 0 w 774"/>
                <a:gd name="T3" fmla="*/ 0 h 802"/>
                <a:gd name="T4" fmla="*/ 326 w 774"/>
                <a:gd name="T5" fmla="*/ 74 h 802"/>
                <a:gd name="T6" fmla="*/ 247 w 774"/>
                <a:gd name="T7" fmla="*/ 503 h 802"/>
                <a:gd name="T8" fmla="*/ 249 w 774"/>
                <a:gd name="T9" fmla="*/ 528 h 802"/>
                <a:gd name="T10" fmla="*/ 253 w 774"/>
                <a:gd name="T11" fmla="*/ 572 h 802"/>
                <a:gd name="T12" fmla="*/ 262 w 774"/>
                <a:gd name="T13" fmla="*/ 610 h 802"/>
                <a:gd name="T14" fmla="*/ 276 w 774"/>
                <a:gd name="T15" fmla="*/ 638 h 802"/>
                <a:gd name="T16" fmla="*/ 285 w 774"/>
                <a:gd name="T17" fmla="*/ 651 h 802"/>
                <a:gd name="T18" fmla="*/ 306 w 774"/>
                <a:gd name="T19" fmla="*/ 671 h 802"/>
                <a:gd name="T20" fmla="*/ 333 w 774"/>
                <a:gd name="T21" fmla="*/ 684 h 802"/>
                <a:gd name="T22" fmla="*/ 365 w 774"/>
                <a:gd name="T23" fmla="*/ 693 h 802"/>
                <a:gd name="T24" fmla="*/ 403 w 774"/>
                <a:gd name="T25" fmla="*/ 695 h 802"/>
                <a:gd name="T26" fmla="*/ 422 w 774"/>
                <a:gd name="T27" fmla="*/ 695 h 802"/>
                <a:gd name="T28" fmla="*/ 457 w 774"/>
                <a:gd name="T29" fmla="*/ 690 h 802"/>
                <a:gd name="T30" fmla="*/ 486 w 774"/>
                <a:gd name="T31" fmla="*/ 680 h 802"/>
                <a:gd name="T32" fmla="*/ 509 w 774"/>
                <a:gd name="T33" fmla="*/ 664 h 802"/>
                <a:gd name="T34" fmla="*/ 518 w 774"/>
                <a:gd name="T35" fmla="*/ 655 h 802"/>
                <a:gd name="T36" fmla="*/ 534 w 774"/>
                <a:gd name="T37" fmla="*/ 631 h 802"/>
                <a:gd name="T38" fmla="*/ 544 w 774"/>
                <a:gd name="T39" fmla="*/ 599 h 802"/>
                <a:gd name="T40" fmla="*/ 551 w 774"/>
                <a:gd name="T41" fmla="*/ 561 h 802"/>
                <a:gd name="T42" fmla="*/ 553 w 774"/>
                <a:gd name="T43" fmla="*/ 514 h 802"/>
                <a:gd name="T44" fmla="*/ 476 w 774"/>
                <a:gd name="T45" fmla="*/ 74 h 802"/>
                <a:gd name="T46" fmla="*/ 774 w 774"/>
                <a:gd name="T47" fmla="*/ 0 h 802"/>
                <a:gd name="T48" fmla="*/ 696 w 774"/>
                <a:gd name="T49" fmla="*/ 99 h 802"/>
                <a:gd name="T50" fmla="*/ 696 w 774"/>
                <a:gd name="T51" fmla="*/ 494 h 802"/>
                <a:gd name="T52" fmla="*/ 693 w 774"/>
                <a:gd name="T53" fmla="*/ 574 h 802"/>
                <a:gd name="T54" fmla="*/ 687 w 774"/>
                <a:gd name="T55" fmla="*/ 628 h 802"/>
                <a:gd name="T56" fmla="*/ 680 w 774"/>
                <a:gd name="T57" fmla="*/ 649 h 802"/>
                <a:gd name="T58" fmla="*/ 664 w 774"/>
                <a:gd name="T59" fmla="*/ 685 h 802"/>
                <a:gd name="T60" fmla="*/ 652 w 774"/>
                <a:gd name="T61" fmla="*/ 701 h 802"/>
                <a:gd name="T62" fmla="*/ 630 w 774"/>
                <a:gd name="T63" fmla="*/ 724 h 802"/>
                <a:gd name="T64" fmla="*/ 605 w 774"/>
                <a:gd name="T65" fmla="*/ 745 h 802"/>
                <a:gd name="T66" fmla="*/ 577 w 774"/>
                <a:gd name="T67" fmla="*/ 762 h 802"/>
                <a:gd name="T68" fmla="*/ 546 w 774"/>
                <a:gd name="T69" fmla="*/ 776 h 802"/>
                <a:gd name="T70" fmla="*/ 529 w 774"/>
                <a:gd name="T71" fmla="*/ 782 h 802"/>
                <a:gd name="T72" fmla="*/ 491 w 774"/>
                <a:gd name="T73" fmla="*/ 791 h 802"/>
                <a:gd name="T74" fmla="*/ 452 w 774"/>
                <a:gd name="T75" fmla="*/ 798 h 802"/>
                <a:gd name="T76" fmla="*/ 409 w 774"/>
                <a:gd name="T77" fmla="*/ 802 h 802"/>
                <a:gd name="T78" fmla="*/ 386 w 774"/>
                <a:gd name="T79" fmla="*/ 802 h 802"/>
                <a:gd name="T80" fmla="*/ 308 w 774"/>
                <a:gd name="T81" fmla="*/ 798 h 802"/>
                <a:gd name="T82" fmla="*/ 243 w 774"/>
                <a:gd name="T83" fmla="*/ 785 h 802"/>
                <a:gd name="T84" fmla="*/ 202 w 774"/>
                <a:gd name="T85" fmla="*/ 771 h 802"/>
                <a:gd name="T86" fmla="*/ 179 w 774"/>
                <a:gd name="T87" fmla="*/ 758 h 802"/>
                <a:gd name="T88" fmla="*/ 158 w 774"/>
                <a:gd name="T89" fmla="*/ 743 h 802"/>
                <a:gd name="T90" fmla="*/ 148 w 774"/>
                <a:gd name="T91" fmla="*/ 736 h 802"/>
                <a:gd name="T92" fmla="*/ 132 w 774"/>
                <a:gd name="T93" fmla="*/ 717 h 802"/>
                <a:gd name="T94" fmla="*/ 116 w 774"/>
                <a:gd name="T95" fmla="*/ 697 h 802"/>
                <a:gd name="T96" fmla="*/ 105 w 774"/>
                <a:gd name="T97" fmla="*/ 673 h 802"/>
                <a:gd name="T98" fmla="*/ 87 w 774"/>
                <a:gd name="T99" fmla="*/ 616 h 802"/>
                <a:gd name="T100" fmla="*/ 77 w 774"/>
                <a:gd name="T101" fmla="*/ 549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74" h="802">
                  <a:moveTo>
                    <a:pt x="77" y="510"/>
                  </a:moveTo>
                  <a:lnTo>
                    <a:pt x="77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326" y="0"/>
                  </a:lnTo>
                  <a:lnTo>
                    <a:pt x="326" y="74"/>
                  </a:lnTo>
                  <a:lnTo>
                    <a:pt x="247" y="99"/>
                  </a:lnTo>
                  <a:lnTo>
                    <a:pt x="247" y="503"/>
                  </a:lnTo>
                  <a:lnTo>
                    <a:pt x="247" y="503"/>
                  </a:lnTo>
                  <a:lnTo>
                    <a:pt x="249" y="528"/>
                  </a:lnTo>
                  <a:lnTo>
                    <a:pt x="250" y="551"/>
                  </a:lnTo>
                  <a:lnTo>
                    <a:pt x="253" y="572"/>
                  </a:lnTo>
                  <a:lnTo>
                    <a:pt x="256" y="592"/>
                  </a:lnTo>
                  <a:lnTo>
                    <a:pt x="262" y="610"/>
                  </a:lnTo>
                  <a:lnTo>
                    <a:pt x="268" y="625"/>
                  </a:lnTo>
                  <a:lnTo>
                    <a:pt x="276" y="638"/>
                  </a:lnTo>
                  <a:lnTo>
                    <a:pt x="285" y="651"/>
                  </a:lnTo>
                  <a:lnTo>
                    <a:pt x="285" y="651"/>
                  </a:lnTo>
                  <a:lnTo>
                    <a:pt x="294" y="662"/>
                  </a:lnTo>
                  <a:lnTo>
                    <a:pt x="306" y="671"/>
                  </a:lnTo>
                  <a:lnTo>
                    <a:pt x="319" y="679"/>
                  </a:lnTo>
                  <a:lnTo>
                    <a:pt x="333" y="684"/>
                  </a:lnTo>
                  <a:lnTo>
                    <a:pt x="349" y="689"/>
                  </a:lnTo>
                  <a:lnTo>
                    <a:pt x="365" y="693"/>
                  </a:lnTo>
                  <a:lnTo>
                    <a:pt x="384" y="695"/>
                  </a:lnTo>
                  <a:lnTo>
                    <a:pt x="403" y="695"/>
                  </a:lnTo>
                  <a:lnTo>
                    <a:pt x="403" y="695"/>
                  </a:lnTo>
                  <a:lnTo>
                    <a:pt x="422" y="695"/>
                  </a:lnTo>
                  <a:lnTo>
                    <a:pt x="441" y="693"/>
                  </a:lnTo>
                  <a:lnTo>
                    <a:pt x="457" y="690"/>
                  </a:lnTo>
                  <a:lnTo>
                    <a:pt x="473" y="685"/>
                  </a:lnTo>
                  <a:lnTo>
                    <a:pt x="486" y="680"/>
                  </a:lnTo>
                  <a:lnTo>
                    <a:pt x="499" y="672"/>
                  </a:lnTo>
                  <a:lnTo>
                    <a:pt x="509" y="664"/>
                  </a:lnTo>
                  <a:lnTo>
                    <a:pt x="518" y="655"/>
                  </a:lnTo>
                  <a:lnTo>
                    <a:pt x="518" y="655"/>
                  </a:lnTo>
                  <a:lnTo>
                    <a:pt x="526" y="644"/>
                  </a:lnTo>
                  <a:lnTo>
                    <a:pt x="534" y="631"/>
                  </a:lnTo>
                  <a:lnTo>
                    <a:pt x="539" y="616"/>
                  </a:lnTo>
                  <a:lnTo>
                    <a:pt x="544" y="599"/>
                  </a:lnTo>
                  <a:lnTo>
                    <a:pt x="548" y="580"/>
                  </a:lnTo>
                  <a:lnTo>
                    <a:pt x="551" y="561"/>
                  </a:lnTo>
                  <a:lnTo>
                    <a:pt x="552" y="538"/>
                  </a:lnTo>
                  <a:lnTo>
                    <a:pt x="553" y="514"/>
                  </a:lnTo>
                  <a:lnTo>
                    <a:pt x="553" y="99"/>
                  </a:lnTo>
                  <a:lnTo>
                    <a:pt x="476" y="74"/>
                  </a:lnTo>
                  <a:lnTo>
                    <a:pt x="476" y="0"/>
                  </a:lnTo>
                  <a:lnTo>
                    <a:pt x="774" y="0"/>
                  </a:lnTo>
                  <a:lnTo>
                    <a:pt x="774" y="74"/>
                  </a:lnTo>
                  <a:lnTo>
                    <a:pt x="696" y="99"/>
                  </a:lnTo>
                  <a:lnTo>
                    <a:pt x="696" y="494"/>
                  </a:lnTo>
                  <a:lnTo>
                    <a:pt x="696" y="494"/>
                  </a:lnTo>
                  <a:lnTo>
                    <a:pt x="696" y="537"/>
                  </a:lnTo>
                  <a:lnTo>
                    <a:pt x="693" y="574"/>
                  </a:lnTo>
                  <a:lnTo>
                    <a:pt x="691" y="605"/>
                  </a:lnTo>
                  <a:lnTo>
                    <a:pt x="687" y="628"/>
                  </a:lnTo>
                  <a:lnTo>
                    <a:pt x="687" y="628"/>
                  </a:lnTo>
                  <a:lnTo>
                    <a:pt x="680" y="649"/>
                  </a:lnTo>
                  <a:lnTo>
                    <a:pt x="673" y="668"/>
                  </a:lnTo>
                  <a:lnTo>
                    <a:pt x="664" y="685"/>
                  </a:lnTo>
                  <a:lnTo>
                    <a:pt x="652" y="701"/>
                  </a:lnTo>
                  <a:lnTo>
                    <a:pt x="652" y="701"/>
                  </a:lnTo>
                  <a:lnTo>
                    <a:pt x="642" y="712"/>
                  </a:lnTo>
                  <a:lnTo>
                    <a:pt x="630" y="724"/>
                  </a:lnTo>
                  <a:lnTo>
                    <a:pt x="618" y="734"/>
                  </a:lnTo>
                  <a:lnTo>
                    <a:pt x="605" y="745"/>
                  </a:lnTo>
                  <a:lnTo>
                    <a:pt x="591" y="754"/>
                  </a:lnTo>
                  <a:lnTo>
                    <a:pt x="577" y="762"/>
                  </a:lnTo>
                  <a:lnTo>
                    <a:pt x="561" y="769"/>
                  </a:lnTo>
                  <a:lnTo>
                    <a:pt x="546" y="776"/>
                  </a:lnTo>
                  <a:lnTo>
                    <a:pt x="546" y="776"/>
                  </a:lnTo>
                  <a:lnTo>
                    <a:pt x="529" y="782"/>
                  </a:lnTo>
                  <a:lnTo>
                    <a:pt x="511" y="787"/>
                  </a:lnTo>
                  <a:lnTo>
                    <a:pt x="491" y="791"/>
                  </a:lnTo>
                  <a:lnTo>
                    <a:pt x="472" y="795"/>
                  </a:lnTo>
                  <a:lnTo>
                    <a:pt x="452" y="798"/>
                  </a:lnTo>
                  <a:lnTo>
                    <a:pt x="432" y="800"/>
                  </a:lnTo>
                  <a:lnTo>
                    <a:pt x="409" y="802"/>
                  </a:lnTo>
                  <a:lnTo>
                    <a:pt x="386" y="802"/>
                  </a:lnTo>
                  <a:lnTo>
                    <a:pt x="386" y="802"/>
                  </a:lnTo>
                  <a:lnTo>
                    <a:pt x="346" y="800"/>
                  </a:lnTo>
                  <a:lnTo>
                    <a:pt x="308" y="798"/>
                  </a:lnTo>
                  <a:lnTo>
                    <a:pt x="275" y="793"/>
                  </a:lnTo>
                  <a:lnTo>
                    <a:pt x="243" y="785"/>
                  </a:lnTo>
                  <a:lnTo>
                    <a:pt x="215" y="776"/>
                  </a:lnTo>
                  <a:lnTo>
                    <a:pt x="202" y="771"/>
                  </a:lnTo>
                  <a:lnTo>
                    <a:pt x="190" y="764"/>
                  </a:lnTo>
                  <a:lnTo>
                    <a:pt x="179" y="758"/>
                  </a:lnTo>
                  <a:lnTo>
                    <a:pt x="167" y="751"/>
                  </a:lnTo>
                  <a:lnTo>
                    <a:pt x="158" y="743"/>
                  </a:lnTo>
                  <a:lnTo>
                    <a:pt x="148" y="736"/>
                  </a:lnTo>
                  <a:lnTo>
                    <a:pt x="148" y="736"/>
                  </a:lnTo>
                  <a:lnTo>
                    <a:pt x="140" y="727"/>
                  </a:lnTo>
                  <a:lnTo>
                    <a:pt x="132" y="717"/>
                  </a:lnTo>
                  <a:lnTo>
                    <a:pt x="124" y="707"/>
                  </a:lnTo>
                  <a:lnTo>
                    <a:pt x="116" y="697"/>
                  </a:lnTo>
                  <a:lnTo>
                    <a:pt x="111" y="685"/>
                  </a:lnTo>
                  <a:lnTo>
                    <a:pt x="105" y="673"/>
                  </a:lnTo>
                  <a:lnTo>
                    <a:pt x="94" y="646"/>
                  </a:lnTo>
                  <a:lnTo>
                    <a:pt x="87" y="616"/>
                  </a:lnTo>
                  <a:lnTo>
                    <a:pt x="81" y="584"/>
                  </a:lnTo>
                  <a:lnTo>
                    <a:pt x="77" y="549"/>
                  </a:lnTo>
                  <a:lnTo>
                    <a:pt x="77" y="51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28"/>
            <p:cNvSpPr>
              <a:spLocks/>
            </p:cNvSpPr>
            <p:nvPr userDrawn="1"/>
          </p:nvSpPr>
          <p:spPr bwMode="auto">
            <a:xfrm>
              <a:off x="5423" y="1252"/>
              <a:ext cx="192" cy="262"/>
            </a:xfrm>
            <a:custGeom>
              <a:avLst/>
              <a:gdLst>
                <a:gd name="T0" fmla="*/ 575 w 575"/>
                <a:gd name="T1" fmla="*/ 786 h 786"/>
                <a:gd name="T2" fmla="*/ 0 w 575"/>
                <a:gd name="T3" fmla="*/ 786 h 786"/>
                <a:gd name="T4" fmla="*/ 0 w 575"/>
                <a:gd name="T5" fmla="*/ 711 h 786"/>
                <a:gd name="T6" fmla="*/ 78 w 575"/>
                <a:gd name="T7" fmla="*/ 688 h 786"/>
                <a:gd name="T8" fmla="*/ 78 w 575"/>
                <a:gd name="T9" fmla="*/ 99 h 786"/>
                <a:gd name="T10" fmla="*/ 0 w 575"/>
                <a:gd name="T11" fmla="*/ 74 h 786"/>
                <a:gd name="T12" fmla="*/ 0 w 575"/>
                <a:gd name="T13" fmla="*/ 0 h 786"/>
                <a:gd name="T14" fmla="*/ 326 w 575"/>
                <a:gd name="T15" fmla="*/ 0 h 786"/>
                <a:gd name="T16" fmla="*/ 326 w 575"/>
                <a:gd name="T17" fmla="*/ 74 h 786"/>
                <a:gd name="T18" fmla="*/ 248 w 575"/>
                <a:gd name="T19" fmla="*/ 99 h 786"/>
                <a:gd name="T20" fmla="*/ 248 w 575"/>
                <a:gd name="T21" fmla="*/ 688 h 786"/>
                <a:gd name="T22" fmla="*/ 400 w 575"/>
                <a:gd name="T23" fmla="*/ 688 h 786"/>
                <a:gd name="T24" fmla="*/ 441 w 575"/>
                <a:gd name="T25" fmla="*/ 585 h 786"/>
                <a:gd name="T26" fmla="*/ 575 w 575"/>
                <a:gd name="T27" fmla="*/ 585 h 786"/>
                <a:gd name="T28" fmla="*/ 575 w 575"/>
                <a:gd name="T29" fmla="*/ 786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5" h="786">
                  <a:moveTo>
                    <a:pt x="575" y="786"/>
                  </a:moveTo>
                  <a:lnTo>
                    <a:pt x="0" y="786"/>
                  </a:lnTo>
                  <a:lnTo>
                    <a:pt x="0" y="711"/>
                  </a:lnTo>
                  <a:lnTo>
                    <a:pt x="78" y="688"/>
                  </a:lnTo>
                  <a:lnTo>
                    <a:pt x="78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326" y="0"/>
                  </a:lnTo>
                  <a:lnTo>
                    <a:pt x="326" y="74"/>
                  </a:lnTo>
                  <a:lnTo>
                    <a:pt x="248" y="99"/>
                  </a:lnTo>
                  <a:lnTo>
                    <a:pt x="248" y="688"/>
                  </a:lnTo>
                  <a:lnTo>
                    <a:pt x="400" y="688"/>
                  </a:lnTo>
                  <a:lnTo>
                    <a:pt x="441" y="585"/>
                  </a:lnTo>
                  <a:lnTo>
                    <a:pt x="575" y="585"/>
                  </a:lnTo>
                  <a:lnTo>
                    <a:pt x="575" y="78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29"/>
            <p:cNvSpPr>
              <a:spLocks/>
            </p:cNvSpPr>
            <p:nvPr userDrawn="1"/>
          </p:nvSpPr>
          <p:spPr bwMode="auto">
            <a:xfrm>
              <a:off x="5423" y="1252"/>
              <a:ext cx="192" cy="262"/>
            </a:xfrm>
            <a:custGeom>
              <a:avLst/>
              <a:gdLst>
                <a:gd name="T0" fmla="*/ 575 w 575"/>
                <a:gd name="T1" fmla="*/ 786 h 786"/>
                <a:gd name="T2" fmla="*/ 0 w 575"/>
                <a:gd name="T3" fmla="*/ 786 h 786"/>
                <a:gd name="T4" fmla="*/ 0 w 575"/>
                <a:gd name="T5" fmla="*/ 711 h 786"/>
                <a:gd name="T6" fmla="*/ 78 w 575"/>
                <a:gd name="T7" fmla="*/ 688 h 786"/>
                <a:gd name="T8" fmla="*/ 78 w 575"/>
                <a:gd name="T9" fmla="*/ 99 h 786"/>
                <a:gd name="T10" fmla="*/ 0 w 575"/>
                <a:gd name="T11" fmla="*/ 74 h 786"/>
                <a:gd name="T12" fmla="*/ 0 w 575"/>
                <a:gd name="T13" fmla="*/ 0 h 786"/>
                <a:gd name="T14" fmla="*/ 326 w 575"/>
                <a:gd name="T15" fmla="*/ 0 h 786"/>
                <a:gd name="T16" fmla="*/ 326 w 575"/>
                <a:gd name="T17" fmla="*/ 74 h 786"/>
                <a:gd name="T18" fmla="*/ 248 w 575"/>
                <a:gd name="T19" fmla="*/ 99 h 786"/>
                <a:gd name="T20" fmla="*/ 248 w 575"/>
                <a:gd name="T21" fmla="*/ 688 h 786"/>
                <a:gd name="T22" fmla="*/ 400 w 575"/>
                <a:gd name="T23" fmla="*/ 688 h 786"/>
                <a:gd name="T24" fmla="*/ 441 w 575"/>
                <a:gd name="T25" fmla="*/ 585 h 786"/>
                <a:gd name="T26" fmla="*/ 575 w 575"/>
                <a:gd name="T27" fmla="*/ 585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5" h="786">
                  <a:moveTo>
                    <a:pt x="575" y="786"/>
                  </a:moveTo>
                  <a:lnTo>
                    <a:pt x="0" y="786"/>
                  </a:lnTo>
                  <a:lnTo>
                    <a:pt x="0" y="711"/>
                  </a:lnTo>
                  <a:lnTo>
                    <a:pt x="78" y="688"/>
                  </a:lnTo>
                  <a:lnTo>
                    <a:pt x="78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326" y="0"/>
                  </a:lnTo>
                  <a:lnTo>
                    <a:pt x="326" y="74"/>
                  </a:lnTo>
                  <a:lnTo>
                    <a:pt x="248" y="99"/>
                  </a:lnTo>
                  <a:lnTo>
                    <a:pt x="248" y="688"/>
                  </a:lnTo>
                  <a:lnTo>
                    <a:pt x="400" y="688"/>
                  </a:lnTo>
                  <a:lnTo>
                    <a:pt x="441" y="585"/>
                  </a:lnTo>
                  <a:lnTo>
                    <a:pt x="575" y="585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30"/>
            <p:cNvSpPr>
              <a:spLocks/>
            </p:cNvSpPr>
            <p:nvPr userDrawn="1"/>
          </p:nvSpPr>
          <p:spPr bwMode="auto">
            <a:xfrm>
              <a:off x="5172" y="1255"/>
              <a:ext cx="214" cy="265"/>
            </a:xfrm>
            <a:custGeom>
              <a:avLst/>
              <a:gdLst>
                <a:gd name="T0" fmla="*/ 0 w 641"/>
                <a:gd name="T1" fmla="*/ 395 h 795"/>
                <a:gd name="T2" fmla="*/ 402 w 641"/>
                <a:gd name="T3" fmla="*/ 0 h 795"/>
                <a:gd name="T4" fmla="*/ 639 w 641"/>
                <a:gd name="T5" fmla="*/ 0 h 795"/>
                <a:gd name="T6" fmla="*/ 236 w 641"/>
                <a:gd name="T7" fmla="*/ 393 h 795"/>
                <a:gd name="T8" fmla="*/ 641 w 641"/>
                <a:gd name="T9" fmla="*/ 795 h 795"/>
                <a:gd name="T10" fmla="*/ 402 w 641"/>
                <a:gd name="T11" fmla="*/ 795 h 795"/>
                <a:gd name="T12" fmla="*/ 0 w 641"/>
                <a:gd name="T13" fmla="*/ 395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1" h="795">
                  <a:moveTo>
                    <a:pt x="0" y="395"/>
                  </a:moveTo>
                  <a:lnTo>
                    <a:pt x="402" y="0"/>
                  </a:lnTo>
                  <a:lnTo>
                    <a:pt x="639" y="0"/>
                  </a:lnTo>
                  <a:lnTo>
                    <a:pt x="236" y="393"/>
                  </a:lnTo>
                  <a:lnTo>
                    <a:pt x="641" y="795"/>
                  </a:lnTo>
                  <a:lnTo>
                    <a:pt x="402" y="795"/>
                  </a:lnTo>
                  <a:lnTo>
                    <a:pt x="0" y="39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31"/>
            <p:cNvSpPr>
              <a:spLocks/>
            </p:cNvSpPr>
            <p:nvPr userDrawn="1"/>
          </p:nvSpPr>
          <p:spPr bwMode="auto">
            <a:xfrm>
              <a:off x="5529" y="1659"/>
              <a:ext cx="265" cy="213"/>
            </a:xfrm>
            <a:custGeom>
              <a:avLst/>
              <a:gdLst>
                <a:gd name="T0" fmla="*/ 394 w 795"/>
                <a:gd name="T1" fmla="*/ 639 h 639"/>
                <a:gd name="T2" fmla="*/ 0 w 795"/>
                <a:gd name="T3" fmla="*/ 237 h 639"/>
                <a:gd name="T4" fmla="*/ 0 w 795"/>
                <a:gd name="T5" fmla="*/ 0 h 639"/>
                <a:gd name="T6" fmla="*/ 393 w 795"/>
                <a:gd name="T7" fmla="*/ 404 h 639"/>
                <a:gd name="T8" fmla="*/ 795 w 795"/>
                <a:gd name="T9" fmla="*/ 0 h 639"/>
                <a:gd name="T10" fmla="*/ 795 w 795"/>
                <a:gd name="T11" fmla="*/ 237 h 639"/>
                <a:gd name="T12" fmla="*/ 394 w 795"/>
                <a:gd name="T13" fmla="*/ 639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5" h="639">
                  <a:moveTo>
                    <a:pt x="394" y="639"/>
                  </a:moveTo>
                  <a:lnTo>
                    <a:pt x="0" y="237"/>
                  </a:lnTo>
                  <a:lnTo>
                    <a:pt x="0" y="0"/>
                  </a:lnTo>
                  <a:lnTo>
                    <a:pt x="393" y="404"/>
                  </a:lnTo>
                  <a:lnTo>
                    <a:pt x="795" y="0"/>
                  </a:lnTo>
                  <a:lnTo>
                    <a:pt x="795" y="237"/>
                  </a:lnTo>
                  <a:lnTo>
                    <a:pt x="394" y="63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32"/>
            <p:cNvSpPr>
              <a:spLocks/>
            </p:cNvSpPr>
            <p:nvPr userDrawn="1"/>
          </p:nvSpPr>
          <p:spPr bwMode="auto">
            <a:xfrm>
              <a:off x="5529" y="892"/>
              <a:ext cx="265" cy="213"/>
            </a:xfrm>
            <a:custGeom>
              <a:avLst/>
              <a:gdLst>
                <a:gd name="T0" fmla="*/ 401 w 795"/>
                <a:gd name="T1" fmla="*/ 0 h 638"/>
                <a:gd name="T2" fmla="*/ 795 w 795"/>
                <a:gd name="T3" fmla="*/ 399 h 638"/>
                <a:gd name="T4" fmla="*/ 795 w 795"/>
                <a:gd name="T5" fmla="*/ 638 h 638"/>
                <a:gd name="T6" fmla="*/ 402 w 795"/>
                <a:gd name="T7" fmla="*/ 235 h 638"/>
                <a:gd name="T8" fmla="*/ 0 w 795"/>
                <a:gd name="T9" fmla="*/ 638 h 638"/>
                <a:gd name="T10" fmla="*/ 0 w 795"/>
                <a:gd name="T11" fmla="*/ 399 h 638"/>
                <a:gd name="T12" fmla="*/ 401 w 795"/>
                <a:gd name="T13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5" h="638">
                  <a:moveTo>
                    <a:pt x="401" y="0"/>
                  </a:moveTo>
                  <a:lnTo>
                    <a:pt x="795" y="399"/>
                  </a:lnTo>
                  <a:lnTo>
                    <a:pt x="795" y="638"/>
                  </a:lnTo>
                  <a:lnTo>
                    <a:pt x="402" y="235"/>
                  </a:lnTo>
                  <a:lnTo>
                    <a:pt x="0" y="638"/>
                  </a:lnTo>
                  <a:lnTo>
                    <a:pt x="0" y="399"/>
                  </a:lnTo>
                  <a:lnTo>
                    <a:pt x="40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421598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contai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1" hasCustomPrompt="1"/>
          </p:nvPr>
        </p:nvSpPr>
        <p:spPr>
          <a:xfrm>
            <a:off x="286942" y="897731"/>
            <a:ext cx="4184754" cy="1826934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6" name="Symbol zastępczy zawartości 4"/>
          <p:cNvSpPr>
            <a:spLocks noGrp="1"/>
          </p:cNvSpPr>
          <p:nvPr>
            <p:ph sz="quarter" idx="13" hasCustomPrompt="1"/>
          </p:nvPr>
        </p:nvSpPr>
        <p:spPr>
          <a:xfrm>
            <a:off x="286942" y="2808073"/>
            <a:ext cx="4184754" cy="1846080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9" name="Symbol zastępczy zawartości 4"/>
          <p:cNvSpPr>
            <a:spLocks noGrp="1"/>
          </p:cNvSpPr>
          <p:nvPr>
            <p:ph sz="quarter" idx="12" hasCustomPrompt="1"/>
          </p:nvPr>
        </p:nvSpPr>
        <p:spPr>
          <a:xfrm>
            <a:off x="4695656" y="897731"/>
            <a:ext cx="4184754" cy="3756422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  <a:p>
            <a:pPr lvl="1"/>
            <a:r>
              <a:rPr lang="pl-PL"/>
              <a:t>Click to edit content</a:t>
            </a:r>
          </a:p>
          <a:p>
            <a:pPr lvl="2"/>
            <a:r>
              <a:rPr lang="pl-PL"/>
              <a:t>Click to edit content</a:t>
            </a:r>
          </a:p>
          <a:p>
            <a:pPr lvl="3"/>
            <a:r>
              <a:rPr lang="pl-PL"/>
              <a:t>Click to edit content</a:t>
            </a:r>
          </a:p>
          <a:p>
            <a:pPr lvl="4"/>
            <a:r>
              <a:rPr lang="pl-PL"/>
              <a:t>Click to edit content</a:t>
            </a:r>
          </a:p>
        </p:txBody>
      </p:sp>
    </p:spTree>
    <p:extLst>
      <p:ext uri="{BB962C8B-B14F-4D97-AF65-F5344CB8AC3E}">
        <p14:creationId xmlns:p14="http://schemas.microsoft.com/office/powerpoint/2010/main" val="4137057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btitle Full size conta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1" hasCustomPrompt="1"/>
          </p:nvPr>
        </p:nvSpPr>
        <p:spPr>
          <a:xfrm>
            <a:off x="286941" y="1408670"/>
            <a:ext cx="8593931" cy="3245483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  <a:p>
            <a:pPr lvl="1"/>
            <a:r>
              <a:rPr lang="pl-PL"/>
              <a:t>Click to edit content</a:t>
            </a:r>
          </a:p>
          <a:p>
            <a:pPr lvl="2"/>
            <a:r>
              <a:rPr lang="pl-PL"/>
              <a:t>Click to edit content</a:t>
            </a:r>
          </a:p>
          <a:p>
            <a:pPr lvl="3"/>
            <a:r>
              <a:rPr lang="pl-PL"/>
              <a:t>Click to edit content</a:t>
            </a:r>
          </a:p>
          <a:p>
            <a:pPr lvl="4"/>
            <a:r>
              <a:rPr lang="pl-PL"/>
              <a:t>Click to edit content</a:t>
            </a:r>
            <a:endParaRPr lang="en-US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quarter" idx="12" hasCustomPrompt="1"/>
          </p:nvPr>
        </p:nvSpPr>
        <p:spPr>
          <a:xfrm>
            <a:off x="286942" y="753114"/>
            <a:ext cx="8593469" cy="367903"/>
          </a:xfrm>
          <a:solidFill>
            <a:schemeClr val="accent3"/>
          </a:solidFill>
        </p:spPr>
        <p:txBody>
          <a:bodyPr>
            <a:noAutofit/>
          </a:bodyPr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  <a:lvl2pPr marL="244350" indent="0">
              <a:buNone/>
              <a:defRPr sz="1500"/>
            </a:lvl2pPr>
            <a:lvl3pPr marL="587250" indent="0">
              <a:buNone/>
              <a:defRPr sz="1500"/>
            </a:lvl3pPr>
            <a:lvl4pPr marL="930150" indent="0">
              <a:buNone/>
              <a:defRPr sz="1500"/>
            </a:lvl4pPr>
            <a:lvl5pPr marL="1273050" indent="0">
              <a:buNone/>
              <a:defRPr sz="1500"/>
            </a:lvl5pPr>
          </a:lstStyle>
          <a:p>
            <a:pPr lvl="0"/>
            <a:r>
              <a:rPr lang="pl-PL"/>
              <a:t>EDIT SUBTITLE</a:t>
            </a:r>
          </a:p>
        </p:txBody>
      </p:sp>
    </p:spTree>
    <p:extLst>
      <p:ext uri="{BB962C8B-B14F-4D97-AF65-F5344CB8AC3E}">
        <p14:creationId xmlns:p14="http://schemas.microsoft.com/office/powerpoint/2010/main" val="4025721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2 contai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quarter" idx="12" hasCustomPrompt="1"/>
          </p:nvPr>
        </p:nvSpPr>
        <p:spPr>
          <a:xfrm>
            <a:off x="286942" y="753114"/>
            <a:ext cx="8593469" cy="367903"/>
          </a:xfrm>
          <a:solidFill>
            <a:schemeClr val="accent3"/>
          </a:solidFill>
        </p:spPr>
        <p:txBody>
          <a:bodyPr>
            <a:noAutofit/>
          </a:bodyPr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  <a:lvl2pPr marL="244350" indent="0">
              <a:buNone/>
              <a:defRPr sz="1500"/>
            </a:lvl2pPr>
            <a:lvl3pPr marL="587250" indent="0">
              <a:buNone/>
              <a:defRPr sz="1500"/>
            </a:lvl3pPr>
            <a:lvl4pPr marL="930150" indent="0">
              <a:buNone/>
              <a:defRPr sz="1500"/>
            </a:lvl4pPr>
            <a:lvl5pPr marL="1273050" indent="0">
              <a:buNone/>
              <a:defRPr sz="1500"/>
            </a:lvl5pPr>
          </a:lstStyle>
          <a:p>
            <a:pPr lvl="0"/>
            <a:r>
              <a:rPr lang="pl-PL"/>
              <a:t>EDIT SUBTITLE</a:t>
            </a:r>
          </a:p>
        </p:txBody>
      </p:sp>
      <p:sp>
        <p:nvSpPr>
          <p:cNvPr id="6" name="Symbol zastępczy zawartości 4"/>
          <p:cNvSpPr>
            <a:spLocks noGrp="1"/>
          </p:cNvSpPr>
          <p:nvPr>
            <p:ph sz="quarter" idx="13" hasCustomPrompt="1"/>
          </p:nvPr>
        </p:nvSpPr>
        <p:spPr>
          <a:xfrm>
            <a:off x="286942" y="1408670"/>
            <a:ext cx="4184754" cy="3245483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  <a:p>
            <a:pPr lvl="1"/>
            <a:r>
              <a:rPr lang="pl-PL"/>
              <a:t>Click to edit content</a:t>
            </a:r>
          </a:p>
          <a:p>
            <a:pPr lvl="2"/>
            <a:r>
              <a:rPr lang="pl-PL"/>
              <a:t>Click to edit content</a:t>
            </a:r>
          </a:p>
          <a:p>
            <a:pPr lvl="3"/>
            <a:r>
              <a:rPr lang="pl-PL"/>
              <a:t>Click to edit content</a:t>
            </a:r>
          </a:p>
          <a:p>
            <a:pPr lvl="4"/>
            <a:r>
              <a:rPr lang="pl-PL"/>
              <a:t>Click to edit content</a:t>
            </a:r>
            <a:endParaRPr lang="en-US"/>
          </a:p>
        </p:txBody>
      </p:sp>
      <p:sp>
        <p:nvSpPr>
          <p:cNvPr id="7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4660641" y="1408670"/>
            <a:ext cx="4219769" cy="3245483"/>
          </a:xfrm>
        </p:spPr>
        <p:txBody>
          <a:bodyPr/>
          <a:lstStyle>
            <a:lvl1pPr marL="270000">
              <a:defRPr lang="pl-PL" smtClean="0"/>
            </a:lvl1pPr>
          </a:lstStyle>
          <a:p>
            <a:pPr lvl="0"/>
            <a:r>
              <a:rPr lang="pl-PL"/>
              <a:t>Click to edit content</a:t>
            </a:r>
          </a:p>
          <a:p>
            <a:pPr lvl="1"/>
            <a:r>
              <a:rPr lang="pl-PL"/>
              <a:t>Click to edit content</a:t>
            </a:r>
          </a:p>
          <a:p>
            <a:pPr lvl="2"/>
            <a:r>
              <a:rPr lang="pl-PL"/>
              <a:t>Click to edit content</a:t>
            </a:r>
          </a:p>
          <a:p>
            <a:pPr lvl="3"/>
            <a:r>
              <a:rPr lang="pl-PL"/>
              <a:t>Click to edit content</a:t>
            </a:r>
          </a:p>
          <a:p>
            <a:pPr lvl="4"/>
            <a:r>
              <a:rPr lang="pl-PL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22840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3 contai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quarter" idx="12" hasCustomPrompt="1"/>
          </p:nvPr>
        </p:nvSpPr>
        <p:spPr>
          <a:xfrm>
            <a:off x="286942" y="753114"/>
            <a:ext cx="8593469" cy="367903"/>
          </a:xfrm>
          <a:solidFill>
            <a:schemeClr val="accent3"/>
          </a:solidFill>
        </p:spPr>
        <p:txBody>
          <a:bodyPr>
            <a:noAutofit/>
          </a:bodyPr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  <a:lvl2pPr marL="244350" indent="0">
              <a:buNone/>
              <a:defRPr sz="1500"/>
            </a:lvl2pPr>
            <a:lvl3pPr marL="587250" indent="0">
              <a:buNone/>
              <a:defRPr sz="1500"/>
            </a:lvl3pPr>
            <a:lvl4pPr marL="930150" indent="0">
              <a:buNone/>
              <a:defRPr sz="1500"/>
            </a:lvl4pPr>
            <a:lvl5pPr marL="1273050" indent="0">
              <a:buNone/>
              <a:defRPr sz="1500"/>
            </a:lvl5pPr>
          </a:lstStyle>
          <a:p>
            <a:pPr lvl="0"/>
            <a:r>
              <a:rPr lang="pl-PL"/>
              <a:t>EDIT SUBTITLE</a:t>
            </a:r>
          </a:p>
        </p:txBody>
      </p:sp>
      <p:sp>
        <p:nvSpPr>
          <p:cNvPr id="6" name="Symbol zastępczy zawartości 4"/>
          <p:cNvSpPr>
            <a:spLocks noGrp="1"/>
          </p:cNvSpPr>
          <p:nvPr>
            <p:ph sz="quarter" idx="13" hasCustomPrompt="1"/>
          </p:nvPr>
        </p:nvSpPr>
        <p:spPr>
          <a:xfrm>
            <a:off x="286942" y="1408670"/>
            <a:ext cx="2762088" cy="3245483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9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3202619" y="1408670"/>
            <a:ext cx="2762088" cy="3245483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10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6118322" y="1408670"/>
            <a:ext cx="2762088" cy="3245483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</p:spTree>
    <p:extLst>
      <p:ext uri="{BB962C8B-B14F-4D97-AF65-F5344CB8AC3E}">
        <p14:creationId xmlns:p14="http://schemas.microsoft.com/office/powerpoint/2010/main" val="41804692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1+2 contai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quarter" idx="12" hasCustomPrompt="1"/>
          </p:nvPr>
        </p:nvSpPr>
        <p:spPr>
          <a:xfrm>
            <a:off x="286942" y="753114"/>
            <a:ext cx="8593469" cy="367903"/>
          </a:xfrm>
          <a:solidFill>
            <a:schemeClr val="accent3"/>
          </a:solidFill>
        </p:spPr>
        <p:txBody>
          <a:bodyPr>
            <a:noAutofit/>
          </a:bodyPr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  <a:lvl2pPr marL="244350" indent="0">
              <a:buNone/>
              <a:defRPr sz="1500"/>
            </a:lvl2pPr>
            <a:lvl3pPr marL="587250" indent="0">
              <a:buNone/>
              <a:defRPr sz="1500"/>
            </a:lvl3pPr>
            <a:lvl4pPr marL="930150" indent="0">
              <a:buNone/>
              <a:defRPr sz="1500"/>
            </a:lvl4pPr>
            <a:lvl5pPr marL="1273050" indent="0">
              <a:buNone/>
              <a:defRPr sz="1500"/>
            </a:lvl5pPr>
          </a:lstStyle>
          <a:p>
            <a:pPr lvl="0"/>
            <a:r>
              <a:rPr lang="pl-PL"/>
              <a:t>EDIT SUBTITLE</a:t>
            </a:r>
          </a:p>
        </p:txBody>
      </p:sp>
      <p:sp>
        <p:nvSpPr>
          <p:cNvPr id="6" name="Symbol zastępczy zawartości 4"/>
          <p:cNvSpPr>
            <a:spLocks noGrp="1"/>
          </p:cNvSpPr>
          <p:nvPr>
            <p:ph sz="quarter" idx="13" hasCustomPrompt="1"/>
          </p:nvPr>
        </p:nvSpPr>
        <p:spPr>
          <a:xfrm>
            <a:off x="286942" y="1408670"/>
            <a:ext cx="4184754" cy="3245483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  <a:p>
            <a:pPr lvl="1"/>
            <a:r>
              <a:rPr lang="pl-PL"/>
              <a:t>Click to edit content</a:t>
            </a:r>
          </a:p>
          <a:p>
            <a:pPr lvl="2"/>
            <a:r>
              <a:rPr lang="pl-PL"/>
              <a:t>Click to edit content</a:t>
            </a:r>
          </a:p>
          <a:p>
            <a:pPr lvl="3"/>
            <a:r>
              <a:rPr lang="pl-PL"/>
              <a:t>Click to edit content</a:t>
            </a:r>
          </a:p>
          <a:p>
            <a:pPr lvl="4"/>
            <a:r>
              <a:rPr lang="pl-PL"/>
              <a:t>Click to edit content</a:t>
            </a:r>
            <a:endParaRPr lang="en-US"/>
          </a:p>
        </p:txBody>
      </p:sp>
      <p:sp>
        <p:nvSpPr>
          <p:cNvPr id="8" name="Symbol zastępczy zawartości 4"/>
          <p:cNvSpPr>
            <a:spLocks noGrp="1"/>
          </p:cNvSpPr>
          <p:nvPr>
            <p:ph sz="quarter" idx="11" hasCustomPrompt="1"/>
          </p:nvPr>
        </p:nvSpPr>
        <p:spPr>
          <a:xfrm>
            <a:off x="4695656" y="1408669"/>
            <a:ext cx="4184754" cy="1556953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9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4695656" y="3086101"/>
            <a:ext cx="4184754" cy="1568052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</p:spTree>
    <p:extLst>
      <p:ext uri="{BB962C8B-B14F-4D97-AF65-F5344CB8AC3E}">
        <p14:creationId xmlns:p14="http://schemas.microsoft.com/office/powerpoint/2010/main" val="8252960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2+1 contai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quarter" idx="12" hasCustomPrompt="1"/>
          </p:nvPr>
        </p:nvSpPr>
        <p:spPr>
          <a:xfrm>
            <a:off x="286942" y="753114"/>
            <a:ext cx="8593469" cy="367903"/>
          </a:xfrm>
          <a:solidFill>
            <a:schemeClr val="accent3"/>
          </a:solidFill>
        </p:spPr>
        <p:txBody>
          <a:bodyPr>
            <a:noAutofit/>
          </a:bodyPr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  <a:lvl2pPr marL="244350" indent="0">
              <a:buNone/>
              <a:defRPr sz="1500"/>
            </a:lvl2pPr>
            <a:lvl3pPr marL="587250" indent="0">
              <a:buNone/>
              <a:defRPr sz="1500"/>
            </a:lvl3pPr>
            <a:lvl4pPr marL="930150" indent="0">
              <a:buNone/>
              <a:defRPr sz="1500"/>
            </a:lvl4pPr>
            <a:lvl5pPr marL="1273050" indent="0">
              <a:buNone/>
              <a:defRPr sz="1500"/>
            </a:lvl5pPr>
          </a:lstStyle>
          <a:p>
            <a:pPr lvl="0"/>
            <a:r>
              <a:rPr lang="pl-PL"/>
              <a:t>EDIT SUBTITLE</a:t>
            </a:r>
          </a:p>
        </p:txBody>
      </p:sp>
      <p:sp>
        <p:nvSpPr>
          <p:cNvPr id="6" name="Symbol zastępczy zawartości 4"/>
          <p:cNvSpPr>
            <a:spLocks noGrp="1"/>
          </p:cNvSpPr>
          <p:nvPr>
            <p:ph sz="quarter" idx="13" hasCustomPrompt="1"/>
          </p:nvPr>
        </p:nvSpPr>
        <p:spPr>
          <a:xfrm>
            <a:off x="4695656" y="1408670"/>
            <a:ext cx="4184754" cy="3245483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  <a:p>
            <a:pPr lvl="1"/>
            <a:r>
              <a:rPr lang="pl-PL"/>
              <a:t>Click to edit content</a:t>
            </a:r>
          </a:p>
          <a:p>
            <a:pPr lvl="2"/>
            <a:r>
              <a:rPr lang="pl-PL"/>
              <a:t>Click to edit content</a:t>
            </a:r>
          </a:p>
          <a:p>
            <a:pPr lvl="3"/>
            <a:r>
              <a:rPr lang="pl-PL"/>
              <a:t>Click to edit content</a:t>
            </a:r>
          </a:p>
          <a:p>
            <a:pPr lvl="4"/>
            <a:r>
              <a:rPr lang="pl-PL"/>
              <a:t>Click to edit content</a:t>
            </a:r>
            <a:endParaRPr lang="en-US"/>
          </a:p>
        </p:txBody>
      </p:sp>
      <p:sp>
        <p:nvSpPr>
          <p:cNvPr id="8" name="Symbol zastępczy zawartości 4"/>
          <p:cNvSpPr>
            <a:spLocks noGrp="1"/>
          </p:cNvSpPr>
          <p:nvPr>
            <p:ph sz="quarter" idx="11" hasCustomPrompt="1"/>
          </p:nvPr>
        </p:nvSpPr>
        <p:spPr>
          <a:xfrm>
            <a:off x="286916" y="1408669"/>
            <a:ext cx="4184754" cy="1556953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9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286916" y="3086101"/>
            <a:ext cx="4184754" cy="1568052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</p:spTree>
    <p:extLst>
      <p:ext uri="{BB962C8B-B14F-4D97-AF65-F5344CB8AC3E}">
        <p14:creationId xmlns:p14="http://schemas.microsoft.com/office/powerpoint/2010/main" val="6513625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ize screen 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/>
          <p:cNvSpPr>
            <a:spLocks noGrp="1"/>
          </p:cNvSpPr>
          <p:nvPr>
            <p:ph sz="quarter" idx="10" hasCustomPrompt="1"/>
          </p:nvPr>
        </p:nvSpPr>
        <p:spPr>
          <a:xfrm>
            <a:off x="0" y="1"/>
            <a:ext cx="9144000" cy="5143499"/>
          </a:xfrm>
        </p:spPr>
        <p:txBody>
          <a:bodyPr anchor="b"/>
          <a:lstStyle>
            <a:lvl1pPr marL="0" indent="0" algn="ctr">
              <a:buFontTx/>
              <a:buNone/>
              <a:defRPr sz="1800"/>
            </a:lvl1pPr>
          </a:lstStyle>
          <a:p>
            <a:r>
              <a:rPr lang="pl-PL"/>
              <a:t>Full size screen shot.</a:t>
            </a:r>
            <a:br>
              <a:rPr lang="pl-PL"/>
            </a:br>
            <a:r>
              <a:rPr lang="pl-PL"/>
              <a:t>Right click to paste picture if copying from other slide. </a:t>
            </a:r>
            <a:br>
              <a:rPr lang="pl-PL"/>
            </a:br>
            <a:r>
              <a:rPr lang="pl-PL"/>
              <a:t>Left click in center to browse for file to place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0373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ize screen shot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/>
          <p:cNvSpPr>
            <a:spLocks noGrp="1"/>
          </p:cNvSpPr>
          <p:nvPr>
            <p:ph sz="quarter" idx="10" hasCustomPrompt="1"/>
          </p:nvPr>
        </p:nvSpPr>
        <p:spPr>
          <a:xfrm>
            <a:off x="0" y="1"/>
            <a:ext cx="9144000" cy="5143499"/>
          </a:xfrm>
        </p:spPr>
        <p:txBody>
          <a:bodyPr anchor="b"/>
          <a:lstStyle>
            <a:lvl1pPr marL="0" indent="0" algn="ctr">
              <a:buFontTx/>
              <a:buNone/>
              <a:defRPr sz="1800"/>
            </a:lvl1pPr>
          </a:lstStyle>
          <a:p>
            <a:r>
              <a:rPr lang="pl-PL" dirty="0"/>
              <a:t>Full size screen shot.</a:t>
            </a:r>
            <a:br>
              <a:rPr lang="pl-PL" dirty="0"/>
            </a:br>
            <a:r>
              <a:rPr lang="pl-PL" dirty="0"/>
              <a:t>Right click to paste picture if copying from other slide. </a:t>
            </a:r>
            <a:br>
              <a:rPr lang="pl-PL" dirty="0"/>
            </a:br>
            <a:r>
              <a:rPr lang="pl-PL" dirty="0"/>
              <a:t>Left click in center to browse for file to place.</a:t>
            </a:r>
            <a:endParaRPr lang="en-US" dirty="0"/>
          </a:p>
        </p:txBody>
      </p:sp>
      <p:sp>
        <p:nvSpPr>
          <p:cNvPr id="4" name="Tytuł 1"/>
          <p:cNvSpPr>
            <a:spLocks noGrp="1"/>
          </p:cNvSpPr>
          <p:nvPr>
            <p:ph type="title" hasCustomPrompt="1"/>
          </p:nvPr>
        </p:nvSpPr>
        <p:spPr>
          <a:xfrm>
            <a:off x="286917" y="273844"/>
            <a:ext cx="8593493" cy="376967"/>
          </a:xfrm>
        </p:spPr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0236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Sta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/>
              <a:t>Goal Status</a:t>
            </a:r>
            <a:endParaRPr lang="en-US"/>
          </a:p>
        </p:txBody>
      </p:sp>
      <p:sp>
        <p:nvSpPr>
          <p:cNvPr id="8" name="Symbol zastępczy tekstu 10"/>
          <p:cNvSpPr>
            <a:spLocks noGrp="1"/>
          </p:cNvSpPr>
          <p:nvPr>
            <p:ph type="body" sz="quarter" idx="16" hasCustomPrompt="1"/>
          </p:nvPr>
        </p:nvSpPr>
        <p:spPr>
          <a:xfrm>
            <a:off x="286941" y="1631092"/>
            <a:ext cx="2762250" cy="3023062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pPr lvl="0"/>
            <a:r>
              <a:rPr lang="pl-PL"/>
              <a:t>Completed projects</a:t>
            </a:r>
            <a:endParaRPr lang="en-US"/>
          </a:p>
        </p:txBody>
      </p:sp>
      <p:sp>
        <p:nvSpPr>
          <p:cNvPr id="9" name="Symbol zastępczy tekstu 10"/>
          <p:cNvSpPr>
            <a:spLocks noGrp="1"/>
          </p:cNvSpPr>
          <p:nvPr>
            <p:ph type="body" sz="quarter" idx="17" hasCustomPrompt="1"/>
          </p:nvPr>
        </p:nvSpPr>
        <p:spPr>
          <a:xfrm>
            <a:off x="6118160" y="1631092"/>
            <a:ext cx="2762250" cy="3023062"/>
          </a:xfrm>
        </p:spPr>
        <p:txBody>
          <a:bodyPr/>
          <a:lstStyle>
            <a:lvl1pPr marL="0" indent="0">
              <a:buNone/>
              <a:defRPr sz="1500"/>
            </a:lvl1pPr>
          </a:lstStyle>
          <a:p>
            <a:pPr lvl="0"/>
            <a:r>
              <a:rPr lang="pl-PL"/>
              <a:t>Upcoming projects</a:t>
            </a:r>
            <a:endParaRPr lang="en-US"/>
          </a:p>
        </p:txBody>
      </p:sp>
      <p:sp>
        <p:nvSpPr>
          <p:cNvPr id="10" name="Symbol zastępczy tekstu 10"/>
          <p:cNvSpPr>
            <a:spLocks noGrp="1"/>
          </p:cNvSpPr>
          <p:nvPr>
            <p:ph type="body" sz="quarter" idx="18" hasCustomPrompt="1"/>
          </p:nvPr>
        </p:nvSpPr>
        <p:spPr>
          <a:xfrm>
            <a:off x="3202538" y="1631092"/>
            <a:ext cx="2762250" cy="3023062"/>
          </a:xfrm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pPr lvl="0"/>
            <a:r>
              <a:rPr lang="pl-PL"/>
              <a:t>Active projects</a:t>
            </a:r>
            <a:endParaRPr lang="en-US"/>
          </a:p>
        </p:txBody>
      </p:sp>
      <p:sp>
        <p:nvSpPr>
          <p:cNvPr id="11" name="Prostokąt 10"/>
          <p:cNvSpPr/>
          <p:nvPr userDrawn="1"/>
        </p:nvSpPr>
        <p:spPr>
          <a:xfrm>
            <a:off x="286917" y="1065771"/>
            <a:ext cx="2762275" cy="3985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12" name="pole tekstowe 11"/>
          <p:cNvSpPr txBox="1"/>
          <p:nvPr userDrawn="1"/>
        </p:nvSpPr>
        <p:spPr>
          <a:xfrm>
            <a:off x="721820" y="1132186"/>
            <a:ext cx="1265411" cy="28469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pl-PL" b="1">
                <a:solidFill>
                  <a:schemeClr val="bg1"/>
                </a:solidFill>
              </a:rPr>
              <a:t>COMPLETED</a:t>
            </a:r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13" name="Prostokąt 12"/>
          <p:cNvSpPr/>
          <p:nvPr userDrawn="1"/>
        </p:nvSpPr>
        <p:spPr>
          <a:xfrm>
            <a:off x="3202513" y="1065771"/>
            <a:ext cx="2762275" cy="398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14" name="pole tekstowe 13"/>
          <p:cNvSpPr txBox="1"/>
          <p:nvPr userDrawn="1"/>
        </p:nvSpPr>
        <p:spPr>
          <a:xfrm>
            <a:off x="3643947" y="1132186"/>
            <a:ext cx="797334" cy="28469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pl-PL" b="1">
                <a:solidFill>
                  <a:schemeClr val="bg1"/>
                </a:solidFill>
              </a:rPr>
              <a:t>ACTIVE</a:t>
            </a:r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15" name="Prostokąt 14"/>
          <p:cNvSpPr/>
          <p:nvPr userDrawn="1"/>
        </p:nvSpPr>
        <p:spPr>
          <a:xfrm>
            <a:off x="6118160" y="1065771"/>
            <a:ext cx="2762275" cy="39850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16" name="pole tekstowe 15"/>
          <p:cNvSpPr txBox="1"/>
          <p:nvPr userDrawn="1"/>
        </p:nvSpPr>
        <p:spPr>
          <a:xfrm>
            <a:off x="6523002" y="1132186"/>
            <a:ext cx="1125949" cy="28469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pl-PL" b="1">
                <a:solidFill>
                  <a:schemeClr val="bg1"/>
                </a:solidFill>
              </a:rPr>
              <a:t>UPCOMING</a:t>
            </a:r>
            <a:endParaRPr lang="en-US" b="1">
              <a:solidFill>
                <a:schemeClr val="bg1"/>
              </a:solidFill>
            </a:endParaRPr>
          </a:p>
        </p:txBody>
      </p:sp>
      <p:pic>
        <p:nvPicPr>
          <p:cNvPr id="6" name="Obraz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39625" y="1184067"/>
            <a:ext cx="161912" cy="161912"/>
          </a:xfrm>
          <a:prstGeom prst="rect">
            <a:avLst/>
          </a:prstGeom>
        </p:spPr>
      </p:pic>
      <p:pic>
        <p:nvPicPr>
          <p:cNvPr id="7" name="Obraz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5047" y="1167106"/>
            <a:ext cx="226223" cy="178874"/>
          </a:xfrm>
          <a:prstGeom prst="rect">
            <a:avLst/>
          </a:prstGeom>
        </p:spPr>
      </p:pic>
      <p:pic>
        <p:nvPicPr>
          <p:cNvPr id="17" name="Obraz 1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323322" y="1132185"/>
            <a:ext cx="224784" cy="242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9222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/>
              <a:t>Goal Timeline</a:t>
            </a:r>
            <a:endParaRPr lang="en-US"/>
          </a:p>
        </p:txBody>
      </p:sp>
      <p:sp>
        <p:nvSpPr>
          <p:cNvPr id="11" name="Prostokąt 10"/>
          <p:cNvSpPr/>
          <p:nvPr userDrawn="1"/>
        </p:nvSpPr>
        <p:spPr>
          <a:xfrm>
            <a:off x="286917" y="1065771"/>
            <a:ext cx="535784" cy="3985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17" name="Symbol zastępczy tekstu 10"/>
          <p:cNvSpPr>
            <a:spLocks noGrp="1"/>
          </p:cNvSpPr>
          <p:nvPr>
            <p:ph type="body" sz="quarter" idx="19" hasCustomPrompt="1"/>
          </p:nvPr>
        </p:nvSpPr>
        <p:spPr>
          <a:xfrm>
            <a:off x="6326154" y="1065771"/>
            <a:ext cx="2554255" cy="1128790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pPr lvl="0"/>
            <a:r>
              <a:rPr lang="pl-PL"/>
              <a:t>Completed projects</a:t>
            </a:r>
            <a:endParaRPr lang="en-US"/>
          </a:p>
        </p:txBody>
      </p:sp>
      <p:sp>
        <p:nvSpPr>
          <p:cNvPr id="18" name="Symbol zastępczy tekstu 10"/>
          <p:cNvSpPr>
            <a:spLocks noGrp="1"/>
          </p:cNvSpPr>
          <p:nvPr>
            <p:ph type="body" sz="quarter" idx="20" hasCustomPrompt="1"/>
          </p:nvPr>
        </p:nvSpPr>
        <p:spPr>
          <a:xfrm>
            <a:off x="6326154" y="3534649"/>
            <a:ext cx="2554255" cy="1128790"/>
          </a:xfrm>
        </p:spPr>
        <p:txBody>
          <a:bodyPr/>
          <a:lstStyle>
            <a:lvl1pPr marL="0" indent="0">
              <a:buNone/>
              <a:defRPr sz="1500"/>
            </a:lvl1pPr>
          </a:lstStyle>
          <a:p>
            <a:pPr lvl="0"/>
            <a:r>
              <a:rPr lang="pl-PL"/>
              <a:t>Upcoming projects</a:t>
            </a:r>
            <a:endParaRPr lang="en-US"/>
          </a:p>
        </p:txBody>
      </p:sp>
      <p:sp>
        <p:nvSpPr>
          <p:cNvPr id="19" name="Symbol zastępczy tekstu 10"/>
          <p:cNvSpPr>
            <a:spLocks noGrp="1"/>
          </p:cNvSpPr>
          <p:nvPr>
            <p:ph type="body" sz="quarter" idx="21" hasCustomPrompt="1"/>
          </p:nvPr>
        </p:nvSpPr>
        <p:spPr>
          <a:xfrm>
            <a:off x="6326154" y="2300210"/>
            <a:ext cx="2554255" cy="1128790"/>
          </a:xfrm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pPr lvl="0"/>
            <a:r>
              <a:rPr lang="pl-PL"/>
              <a:t>Active projects</a:t>
            </a:r>
            <a:endParaRPr lang="en-US"/>
          </a:p>
        </p:txBody>
      </p:sp>
      <p:sp>
        <p:nvSpPr>
          <p:cNvPr id="25" name="Prostokąt 24"/>
          <p:cNvSpPr/>
          <p:nvPr userDrawn="1"/>
        </p:nvSpPr>
        <p:spPr>
          <a:xfrm>
            <a:off x="286916" y="2295896"/>
            <a:ext cx="535785" cy="398506"/>
          </a:xfrm>
          <a:prstGeom prst="rect">
            <a:avLst/>
          </a:prstGeom>
          <a:solidFill>
            <a:srgbClr val="EB57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26" name="Prostokąt 25"/>
          <p:cNvSpPr/>
          <p:nvPr userDrawn="1"/>
        </p:nvSpPr>
        <p:spPr>
          <a:xfrm>
            <a:off x="286916" y="3534649"/>
            <a:ext cx="535786" cy="39850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27" name="Symbol zastępczy tekstu 10"/>
          <p:cNvSpPr>
            <a:spLocks noGrp="1"/>
          </p:cNvSpPr>
          <p:nvPr>
            <p:ph type="body" sz="quarter" idx="22" hasCustomPrompt="1"/>
          </p:nvPr>
        </p:nvSpPr>
        <p:spPr>
          <a:xfrm>
            <a:off x="3574427" y="1065771"/>
            <a:ext cx="2554255" cy="1128790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pPr lvl="0"/>
            <a:r>
              <a:rPr lang="pl-PL"/>
              <a:t>Completed projects</a:t>
            </a:r>
            <a:endParaRPr lang="en-US"/>
          </a:p>
        </p:txBody>
      </p:sp>
      <p:sp>
        <p:nvSpPr>
          <p:cNvPr id="28" name="Symbol zastępczy tekstu 10"/>
          <p:cNvSpPr>
            <a:spLocks noGrp="1"/>
          </p:cNvSpPr>
          <p:nvPr>
            <p:ph type="body" sz="quarter" idx="23" hasCustomPrompt="1"/>
          </p:nvPr>
        </p:nvSpPr>
        <p:spPr>
          <a:xfrm>
            <a:off x="3574427" y="3534649"/>
            <a:ext cx="2554255" cy="1128790"/>
          </a:xfrm>
        </p:spPr>
        <p:txBody>
          <a:bodyPr/>
          <a:lstStyle>
            <a:lvl1pPr marL="0" indent="0">
              <a:buNone/>
              <a:defRPr sz="1500"/>
            </a:lvl1pPr>
          </a:lstStyle>
          <a:p>
            <a:pPr lvl="0"/>
            <a:r>
              <a:rPr lang="pl-PL"/>
              <a:t>Upcoming projects</a:t>
            </a:r>
            <a:endParaRPr lang="en-US"/>
          </a:p>
        </p:txBody>
      </p:sp>
      <p:sp>
        <p:nvSpPr>
          <p:cNvPr id="29" name="Symbol zastępczy tekstu 10"/>
          <p:cNvSpPr>
            <a:spLocks noGrp="1"/>
          </p:cNvSpPr>
          <p:nvPr>
            <p:ph type="body" sz="quarter" idx="24" hasCustomPrompt="1"/>
          </p:nvPr>
        </p:nvSpPr>
        <p:spPr>
          <a:xfrm>
            <a:off x="3574427" y="2300210"/>
            <a:ext cx="2554255" cy="1128790"/>
          </a:xfrm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pPr lvl="0"/>
            <a:r>
              <a:rPr lang="pl-PL"/>
              <a:t>Active projects</a:t>
            </a:r>
            <a:endParaRPr lang="en-US"/>
          </a:p>
        </p:txBody>
      </p:sp>
      <p:sp>
        <p:nvSpPr>
          <p:cNvPr id="30" name="Symbol zastępczy tekstu 10"/>
          <p:cNvSpPr>
            <a:spLocks noGrp="1"/>
          </p:cNvSpPr>
          <p:nvPr>
            <p:ph type="body" sz="quarter" idx="25" hasCustomPrompt="1"/>
          </p:nvPr>
        </p:nvSpPr>
        <p:spPr>
          <a:xfrm>
            <a:off x="822701" y="1065771"/>
            <a:ext cx="2554255" cy="1128790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pPr lvl="0"/>
            <a:r>
              <a:rPr lang="pl-PL"/>
              <a:t>Completed projects</a:t>
            </a:r>
            <a:endParaRPr lang="en-US"/>
          </a:p>
        </p:txBody>
      </p:sp>
      <p:sp>
        <p:nvSpPr>
          <p:cNvPr id="31" name="Symbol zastępczy tekstu 10"/>
          <p:cNvSpPr>
            <a:spLocks noGrp="1"/>
          </p:cNvSpPr>
          <p:nvPr>
            <p:ph type="body" sz="quarter" idx="26" hasCustomPrompt="1"/>
          </p:nvPr>
        </p:nvSpPr>
        <p:spPr>
          <a:xfrm>
            <a:off x="822701" y="3534649"/>
            <a:ext cx="2554255" cy="1128790"/>
          </a:xfrm>
        </p:spPr>
        <p:txBody>
          <a:bodyPr/>
          <a:lstStyle>
            <a:lvl1pPr marL="0" indent="0">
              <a:buNone/>
              <a:defRPr sz="1500"/>
            </a:lvl1pPr>
          </a:lstStyle>
          <a:p>
            <a:pPr lvl="0"/>
            <a:r>
              <a:rPr lang="pl-PL"/>
              <a:t>Upcoming projects</a:t>
            </a:r>
            <a:endParaRPr lang="en-US"/>
          </a:p>
        </p:txBody>
      </p:sp>
      <p:sp>
        <p:nvSpPr>
          <p:cNvPr id="32" name="Symbol zastępczy tekstu 10"/>
          <p:cNvSpPr>
            <a:spLocks noGrp="1"/>
          </p:cNvSpPr>
          <p:nvPr>
            <p:ph type="body" sz="quarter" idx="27" hasCustomPrompt="1"/>
          </p:nvPr>
        </p:nvSpPr>
        <p:spPr>
          <a:xfrm>
            <a:off x="822701" y="2300210"/>
            <a:ext cx="2554255" cy="1128790"/>
          </a:xfrm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pPr lvl="0"/>
            <a:r>
              <a:rPr lang="pl-PL"/>
              <a:t>Active projects</a:t>
            </a:r>
            <a:endParaRPr lang="en-US"/>
          </a:p>
        </p:txBody>
      </p:sp>
      <p:pic>
        <p:nvPicPr>
          <p:cNvPr id="39" name="Obraz 3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2896" y="3652945"/>
            <a:ext cx="161912" cy="161912"/>
          </a:xfrm>
          <a:prstGeom prst="rect">
            <a:avLst/>
          </a:prstGeom>
        </p:spPr>
      </p:pic>
      <p:pic>
        <p:nvPicPr>
          <p:cNvPr id="40" name="Obraz 3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3185" y="1167106"/>
            <a:ext cx="226223" cy="178874"/>
          </a:xfrm>
          <a:prstGeom prst="rect">
            <a:avLst/>
          </a:prstGeom>
        </p:spPr>
      </p:pic>
      <p:pic>
        <p:nvPicPr>
          <p:cNvPr id="41" name="Obraz 4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64624" y="2373883"/>
            <a:ext cx="224784" cy="242530"/>
          </a:xfrm>
          <a:prstGeom prst="rect">
            <a:avLst/>
          </a:prstGeom>
        </p:spPr>
      </p:pic>
      <p:sp>
        <p:nvSpPr>
          <p:cNvPr id="4" name="Symbol zastępczy tekstu 3"/>
          <p:cNvSpPr>
            <a:spLocks noGrp="1"/>
          </p:cNvSpPr>
          <p:nvPr>
            <p:ph type="body" sz="quarter" idx="28" hasCustomPrompt="1"/>
          </p:nvPr>
        </p:nvSpPr>
        <p:spPr>
          <a:xfrm>
            <a:off x="2701529" y="786727"/>
            <a:ext cx="675084" cy="226219"/>
          </a:xfrm>
        </p:spPr>
        <p:txBody>
          <a:bodyPr>
            <a:noAutofit/>
          </a:bodyPr>
          <a:lstStyle>
            <a:lvl1pPr marL="0" indent="0" algn="r">
              <a:buNone/>
              <a:defRPr sz="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pl-PL" sz="1100"/>
              <a:t>YEAR</a:t>
            </a:r>
            <a:endParaRPr lang="en-US"/>
          </a:p>
        </p:txBody>
      </p:sp>
      <p:sp>
        <p:nvSpPr>
          <p:cNvPr id="20" name="Symbol zastępczy tekstu 3"/>
          <p:cNvSpPr>
            <a:spLocks noGrp="1"/>
          </p:cNvSpPr>
          <p:nvPr>
            <p:ph type="body" sz="quarter" idx="29" hasCustomPrompt="1"/>
          </p:nvPr>
        </p:nvSpPr>
        <p:spPr>
          <a:xfrm>
            <a:off x="5453598" y="786727"/>
            <a:ext cx="675084" cy="226219"/>
          </a:xfrm>
        </p:spPr>
        <p:txBody>
          <a:bodyPr>
            <a:noAutofit/>
          </a:bodyPr>
          <a:lstStyle>
            <a:lvl1pPr marL="0" indent="0" algn="r">
              <a:buNone/>
              <a:defRPr sz="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pl-PL" sz="1100"/>
              <a:t>YEAR</a:t>
            </a:r>
            <a:endParaRPr lang="en-US"/>
          </a:p>
        </p:txBody>
      </p:sp>
      <p:sp>
        <p:nvSpPr>
          <p:cNvPr id="21" name="Symbol zastępczy tekstu 3"/>
          <p:cNvSpPr>
            <a:spLocks noGrp="1"/>
          </p:cNvSpPr>
          <p:nvPr>
            <p:ph type="body" sz="quarter" idx="30" hasCustomPrompt="1"/>
          </p:nvPr>
        </p:nvSpPr>
        <p:spPr>
          <a:xfrm>
            <a:off x="8205325" y="786727"/>
            <a:ext cx="675084" cy="226219"/>
          </a:xfrm>
        </p:spPr>
        <p:txBody>
          <a:bodyPr>
            <a:noAutofit/>
          </a:bodyPr>
          <a:lstStyle>
            <a:lvl1pPr marL="0" indent="0" algn="r">
              <a:buNone/>
              <a:defRPr sz="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pl-PL" sz="1100"/>
              <a:t>YEA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71555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stokąt 2"/>
          <p:cNvSpPr/>
          <p:nvPr userDrawn="1"/>
        </p:nvSpPr>
        <p:spPr>
          <a:xfrm>
            <a:off x="793" y="0"/>
            <a:ext cx="9144000" cy="514350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>
              <a:ln>
                <a:noFill/>
              </a:ln>
              <a:solidFill>
                <a:schemeClr val="bg1"/>
              </a:solidFill>
            </a:endParaRPr>
          </a:p>
        </p:txBody>
      </p:sp>
      <p:grpSp>
        <p:nvGrpSpPr>
          <p:cNvPr id="55" name="Group 19"/>
          <p:cNvGrpSpPr>
            <a:grpSpLocks noChangeAspect="1"/>
          </p:cNvGrpSpPr>
          <p:nvPr userDrawn="1"/>
        </p:nvGrpSpPr>
        <p:grpSpPr bwMode="auto">
          <a:xfrm>
            <a:off x="8449097" y="4375544"/>
            <a:ext cx="438164" cy="423513"/>
            <a:chOff x="2074" y="843"/>
            <a:chExt cx="1615" cy="1561"/>
          </a:xfrm>
        </p:grpSpPr>
        <p:sp>
          <p:nvSpPr>
            <p:cNvPr id="56" name="Freeform 20"/>
            <p:cNvSpPr>
              <a:spLocks noEditPoints="1"/>
            </p:cNvSpPr>
            <p:nvPr userDrawn="1"/>
          </p:nvSpPr>
          <p:spPr bwMode="auto">
            <a:xfrm>
              <a:off x="2074" y="1379"/>
              <a:ext cx="1525" cy="442"/>
            </a:xfrm>
            <a:custGeom>
              <a:avLst/>
              <a:gdLst>
                <a:gd name="T0" fmla="*/ 646 w 646"/>
                <a:gd name="T1" fmla="*/ 0 h 187"/>
                <a:gd name="T2" fmla="*/ 0 w 646"/>
                <a:gd name="T3" fmla="*/ 187 h 187"/>
                <a:gd name="T4" fmla="*/ 0 w 646"/>
                <a:gd name="T5" fmla="*/ 0 h 187"/>
                <a:gd name="T6" fmla="*/ 334 w 646"/>
                <a:gd name="T7" fmla="*/ 41 h 187"/>
                <a:gd name="T8" fmla="*/ 298 w 646"/>
                <a:gd name="T9" fmla="*/ 41 h 187"/>
                <a:gd name="T10" fmla="*/ 289 w 646"/>
                <a:gd name="T11" fmla="*/ 66 h 187"/>
                <a:gd name="T12" fmla="*/ 325 w 646"/>
                <a:gd name="T13" fmla="*/ 48 h 187"/>
                <a:gd name="T14" fmla="*/ 316 w 646"/>
                <a:gd name="T15" fmla="*/ 140 h 187"/>
                <a:gd name="T16" fmla="*/ 358 w 646"/>
                <a:gd name="T17" fmla="*/ 144 h 187"/>
                <a:gd name="T18" fmla="*/ 343 w 646"/>
                <a:gd name="T19" fmla="*/ 130 h 187"/>
                <a:gd name="T20" fmla="*/ 343 w 646"/>
                <a:gd name="T21" fmla="*/ 47 h 187"/>
                <a:gd name="T22" fmla="*/ 375 w 646"/>
                <a:gd name="T23" fmla="*/ 66 h 187"/>
                <a:gd name="T24" fmla="*/ 377 w 646"/>
                <a:gd name="T25" fmla="*/ 37 h 187"/>
                <a:gd name="T26" fmla="*/ 207 w 646"/>
                <a:gd name="T27" fmla="*/ 69 h 187"/>
                <a:gd name="T28" fmla="*/ 233 w 646"/>
                <a:gd name="T29" fmla="*/ 141 h 187"/>
                <a:gd name="T30" fmla="*/ 204 w 646"/>
                <a:gd name="T31" fmla="*/ 116 h 187"/>
                <a:gd name="T32" fmla="*/ 270 w 646"/>
                <a:gd name="T33" fmla="*/ 119 h 187"/>
                <a:gd name="T34" fmla="*/ 225 w 646"/>
                <a:gd name="T35" fmla="*/ 69 h 187"/>
                <a:gd name="T36" fmla="*/ 258 w 646"/>
                <a:gd name="T37" fmla="*/ 56 h 187"/>
                <a:gd name="T38" fmla="*/ 266 w 646"/>
                <a:gd name="T39" fmla="*/ 64 h 187"/>
                <a:gd name="T40" fmla="*/ 207 w 646"/>
                <a:gd name="T41" fmla="*/ 69 h 187"/>
                <a:gd name="T42" fmla="*/ 44 w 646"/>
                <a:gd name="T43" fmla="*/ 45 h 187"/>
                <a:gd name="T44" fmla="*/ 58 w 646"/>
                <a:gd name="T45" fmla="*/ 93 h 187"/>
                <a:gd name="T46" fmla="*/ 43 w 646"/>
                <a:gd name="T47" fmla="*/ 144 h 187"/>
                <a:gd name="T48" fmla="*/ 124 w 646"/>
                <a:gd name="T49" fmla="*/ 119 h 187"/>
                <a:gd name="T50" fmla="*/ 93 w 646"/>
                <a:gd name="T51" fmla="*/ 139 h 187"/>
                <a:gd name="T52" fmla="*/ 76 w 646"/>
                <a:gd name="T53" fmla="*/ 92 h 187"/>
                <a:gd name="T54" fmla="*/ 85 w 646"/>
                <a:gd name="T55" fmla="*/ 45 h 187"/>
                <a:gd name="T56" fmla="*/ 44 w 646"/>
                <a:gd name="T57" fmla="*/ 41 h 187"/>
                <a:gd name="T58" fmla="*/ 139 w 646"/>
                <a:gd name="T59" fmla="*/ 42 h 187"/>
                <a:gd name="T60" fmla="*/ 152 w 646"/>
                <a:gd name="T61" fmla="*/ 56 h 187"/>
                <a:gd name="T62" fmla="*/ 152 w 646"/>
                <a:gd name="T63" fmla="*/ 130 h 187"/>
                <a:gd name="T64" fmla="*/ 139 w 646"/>
                <a:gd name="T65" fmla="*/ 142 h 187"/>
                <a:gd name="T66" fmla="*/ 173 w 646"/>
                <a:gd name="T67" fmla="*/ 145 h 187"/>
                <a:gd name="T68" fmla="*/ 173 w 646"/>
                <a:gd name="T69" fmla="*/ 138 h 187"/>
                <a:gd name="T70" fmla="*/ 170 w 646"/>
                <a:gd name="T71" fmla="*/ 94 h 187"/>
                <a:gd name="T72" fmla="*/ 184 w 646"/>
                <a:gd name="T73" fmla="*/ 41 h 187"/>
                <a:gd name="T74" fmla="*/ 139 w 646"/>
                <a:gd name="T75" fmla="*/ 42 h 187"/>
                <a:gd name="T76" fmla="*/ 411 w 646"/>
                <a:gd name="T77" fmla="*/ 67 h 187"/>
                <a:gd name="T78" fmla="*/ 408 w 646"/>
                <a:gd name="T79" fmla="*/ 137 h 187"/>
                <a:gd name="T80" fmla="*/ 395 w 646"/>
                <a:gd name="T81" fmla="*/ 144 h 187"/>
                <a:gd name="T82" fmla="*/ 479 w 646"/>
                <a:gd name="T83" fmla="*/ 119 h 187"/>
                <a:gd name="T84" fmla="*/ 447 w 646"/>
                <a:gd name="T85" fmla="*/ 139 h 187"/>
                <a:gd name="T86" fmla="*/ 428 w 646"/>
                <a:gd name="T87" fmla="*/ 118 h 187"/>
                <a:gd name="T88" fmla="*/ 455 w 646"/>
                <a:gd name="T89" fmla="*/ 96 h 187"/>
                <a:gd name="T90" fmla="*/ 463 w 646"/>
                <a:gd name="T91" fmla="*/ 108 h 187"/>
                <a:gd name="T92" fmla="*/ 458 w 646"/>
                <a:gd name="T93" fmla="*/ 74 h 187"/>
                <a:gd name="T94" fmla="*/ 428 w 646"/>
                <a:gd name="T95" fmla="*/ 87 h 187"/>
                <a:gd name="T96" fmla="*/ 460 w 646"/>
                <a:gd name="T97" fmla="*/ 50 h 187"/>
                <a:gd name="T98" fmla="*/ 471 w 646"/>
                <a:gd name="T99" fmla="*/ 65 h 187"/>
                <a:gd name="T100" fmla="*/ 397 w 646"/>
                <a:gd name="T101" fmla="*/ 41 h 187"/>
                <a:gd name="T102" fmla="*/ 495 w 646"/>
                <a:gd name="T103" fmla="*/ 42 h 187"/>
                <a:gd name="T104" fmla="*/ 506 w 646"/>
                <a:gd name="T105" fmla="*/ 48 h 187"/>
                <a:gd name="T106" fmla="*/ 508 w 646"/>
                <a:gd name="T107" fmla="*/ 117 h 187"/>
                <a:gd name="T108" fmla="*/ 494 w 646"/>
                <a:gd name="T109" fmla="*/ 143 h 187"/>
                <a:gd name="T110" fmla="*/ 533 w 646"/>
                <a:gd name="T111" fmla="*/ 145 h 187"/>
                <a:gd name="T112" fmla="*/ 584 w 646"/>
                <a:gd name="T113" fmla="*/ 51 h 187"/>
                <a:gd name="T114" fmla="*/ 495 w 646"/>
                <a:gd name="T115" fmla="*/ 42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46" h="187">
                  <a:moveTo>
                    <a:pt x="0" y="0"/>
                  </a:moveTo>
                  <a:cubicBezTo>
                    <a:pt x="646" y="0"/>
                    <a:pt x="646" y="0"/>
                    <a:pt x="646" y="0"/>
                  </a:cubicBezTo>
                  <a:cubicBezTo>
                    <a:pt x="646" y="186"/>
                    <a:pt x="646" y="186"/>
                    <a:pt x="646" y="186"/>
                  </a:cubicBezTo>
                  <a:cubicBezTo>
                    <a:pt x="431" y="187"/>
                    <a:pt x="215" y="186"/>
                    <a:pt x="0" y="18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369" y="41"/>
                  </a:moveTo>
                  <a:cubicBezTo>
                    <a:pt x="361" y="43"/>
                    <a:pt x="346" y="41"/>
                    <a:pt x="334" y="41"/>
                  </a:cubicBezTo>
                  <a:cubicBezTo>
                    <a:pt x="316" y="41"/>
                    <a:pt x="316" y="41"/>
                    <a:pt x="316" y="41"/>
                  </a:cubicBezTo>
                  <a:cubicBezTo>
                    <a:pt x="309" y="41"/>
                    <a:pt x="302" y="42"/>
                    <a:pt x="298" y="41"/>
                  </a:cubicBezTo>
                  <a:cubicBezTo>
                    <a:pt x="295" y="40"/>
                    <a:pt x="293" y="36"/>
                    <a:pt x="290" y="37"/>
                  </a:cubicBezTo>
                  <a:cubicBezTo>
                    <a:pt x="289" y="45"/>
                    <a:pt x="288" y="58"/>
                    <a:pt x="289" y="66"/>
                  </a:cubicBezTo>
                  <a:cubicBezTo>
                    <a:pt x="292" y="66"/>
                    <a:pt x="292" y="66"/>
                    <a:pt x="292" y="66"/>
                  </a:cubicBezTo>
                  <a:cubicBezTo>
                    <a:pt x="294" y="50"/>
                    <a:pt x="306" y="44"/>
                    <a:pt x="325" y="48"/>
                  </a:cubicBezTo>
                  <a:cubicBezTo>
                    <a:pt x="325" y="117"/>
                    <a:pt x="325" y="117"/>
                    <a:pt x="325" y="117"/>
                  </a:cubicBezTo>
                  <a:cubicBezTo>
                    <a:pt x="325" y="129"/>
                    <a:pt x="326" y="138"/>
                    <a:pt x="316" y="140"/>
                  </a:cubicBezTo>
                  <a:cubicBezTo>
                    <a:pt x="312" y="141"/>
                    <a:pt x="307" y="139"/>
                    <a:pt x="309" y="144"/>
                  </a:cubicBezTo>
                  <a:cubicBezTo>
                    <a:pt x="324" y="145"/>
                    <a:pt x="344" y="146"/>
                    <a:pt x="358" y="144"/>
                  </a:cubicBezTo>
                  <a:cubicBezTo>
                    <a:pt x="358" y="141"/>
                    <a:pt x="358" y="141"/>
                    <a:pt x="358" y="141"/>
                  </a:cubicBezTo>
                  <a:cubicBezTo>
                    <a:pt x="350" y="140"/>
                    <a:pt x="344" y="139"/>
                    <a:pt x="343" y="130"/>
                  </a:cubicBezTo>
                  <a:cubicBezTo>
                    <a:pt x="341" y="119"/>
                    <a:pt x="343" y="103"/>
                    <a:pt x="343" y="89"/>
                  </a:cubicBezTo>
                  <a:cubicBezTo>
                    <a:pt x="343" y="47"/>
                    <a:pt x="343" y="47"/>
                    <a:pt x="343" y="47"/>
                  </a:cubicBezTo>
                  <a:cubicBezTo>
                    <a:pt x="353" y="48"/>
                    <a:pt x="362" y="46"/>
                    <a:pt x="368" y="50"/>
                  </a:cubicBezTo>
                  <a:cubicBezTo>
                    <a:pt x="373" y="53"/>
                    <a:pt x="372" y="60"/>
                    <a:pt x="375" y="66"/>
                  </a:cubicBezTo>
                  <a:cubicBezTo>
                    <a:pt x="379" y="66"/>
                    <a:pt x="379" y="66"/>
                    <a:pt x="379" y="66"/>
                  </a:cubicBezTo>
                  <a:cubicBezTo>
                    <a:pt x="379" y="57"/>
                    <a:pt x="377" y="45"/>
                    <a:pt x="377" y="37"/>
                  </a:cubicBezTo>
                  <a:cubicBezTo>
                    <a:pt x="375" y="36"/>
                    <a:pt x="373" y="40"/>
                    <a:pt x="369" y="41"/>
                  </a:cubicBezTo>
                  <a:moveTo>
                    <a:pt x="207" y="69"/>
                  </a:moveTo>
                  <a:cubicBezTo>
                    <a:pt x="208" y="96"/>
                    <a:pt x="243" y="97"/>
                    <a:pt x="252" y="113"/>
                  </a:cubicBezTo>
                  <a:cubicBezTo>
                    <a:pt x="259" y="127"/>
                    <a:pt x="250" y="143"/>
                    <a:pt x="233" y="141"/>
                  </a:cubicBezTo>
                  <a:cubicBezTo>
                    <a:pt x="219" y="139"/>
                    <a:pt x="214" y="126"/>
                    <a:pt x="208" y="115"/>
                  </a:cubicBezTo>
                  <a:cubicBezTo>
                    <a:pt x="207" y="116"/>
                    <a:pt x="205" y="116"/>
                    <a:pt x="204" y="116"/>
                  </a:cubicBezTo>
                  <a:cubicBezTo>
                    <a:pt x="204" y="124"/>
                    <a:pt x="207" y="133"/>
                    <a:pt x="208" y="141"/>
                  </a:cubicBezTo>
                  <a:cubicBezTo>
                    <a:pt x="235" y="155"/>
                    <a:pt x="268" y="145"/>
                    <a:pt x="270" y="119"/>
                  </a:cubicBezTo>
                  <a:cubicBezTo>
                    <a:pt x="272" y="106"/>
                    <a:pt x="266" y="97"/>
                    <a:pt x="260" y="92"/>
                  </a:cubicBezTo>
                  <a:cubicBezTo>
                    <a:pt x="249" y="83"/>
                    <a:pt x="232" y="81"/>
                    <a:pt x="225" y="69"/>
                  </a:cubicBezTo>
                  <a:cubicBezTo>
                    <a:pt x="221" y="61"/>
                    <a:pt x="224" y="51"/>
                    <a:pt x="231" y="47"/>
                  </a:cubicBezTo>
                  <a:cubicBezTo>
                    <a:pt x="243" y="40"/>
                    <a:pt x="253" y="48"/>
                    <a:pt x="258" y="56"/>
                  </a:cubicBezTo>
                  <a:cubicBezTo>
                    <a:pt x="258" y="58"/>
                    <a:pt x="260" y="65"/>
                    <a:pt x="262" y="65"/>
                  </a:cubicBezTo>
                  <a:cubicBezTo>
                    <a:pt x="263" y="65"/>
                    <a:pt x="264" y="64"/>
                    <a:pt x="266" y="64"/>
                  </a:cubicBezTo>
                  <a:cubicBezTo>
                    <a:pt x="266" y="58"/>
                    <a:pt x="263" y="50"/>
                    <a:pt x="263" y="42"/>
                  </a:cubicBezTo>
                  <a:cubicBezTo>
                    <a:pt x="238" y="32"/>
                    <a:pt x="207" y="41"/>
                    <a:pt x="207" y="69"/>
                  </a:cubicBezTo>
                  <a:moveTo>
                    <a:pt x="44" y="42"/>
                  </a:moveTo>
                  <a:cubicBezTo>
                    <a:pt x="44" y="45"/>
                    <a:pt x="44" y="45"/>
                    <a:pt x="44" y="45"/>
                  </a:cubicBezTo>
                  <a:cubicBezTo>
                    <a:pt x="59" y="43"/>
                    <a:pt x="58" y="57"/>
                    <a:pt x="58" y="71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58" y="106"/>
                    <a:pt x="61" y="135"/>
                    <a:pt x="53" y="139"/>
                  </a:cubicBezTo>
                  <a:cubicBezTo>
                    <a:pt x="49" y="141"/>
                    <a:pt x="42" y="138"/>
                    <a:pt x="43" y="144"/>
                  </a:cubicBezTo>
                  <a:cubicBezTo>
                    <a:pt x="67" y="146"/>
                    <a:pt x="94" y="144"/>
                    <a:pt x="118" y="145"/>
                  </a:cubicBezTo>
                  <a:cubicBezTo>
                    <a:pt x="120" y="136"/>
                    <a:pt x="123" y="128"/>
                    <a:pt x="124" y="119"/>
                  </a:cubicBezTo>
                  <a:cubicBezTo>
                    <a:pt x="118" y="116"/>
                    <a:pt x="118" y="121"/>
                    <a:pt x="117" y="124"/>
                  </a:cubicBezTo>
                  <a:cubicBezTo>
                    <a:pt x="113" y="135"/>
                    <a:pt x="107" y="139"/>
                    <a:pt x="93" y="139"/>
                  </a:cubicBezTo>
                  <a:cubicBezTo>
                    <a:pt x="84" y="139"/>
                    <a:pt x="77" y="138"/>
                    <a:pt x="76" y="127"/>
                  </a:cubicBezTo>
                  <a:cubicBezTo>
                    <a:pt x="75" y="117"/>
                    <a:pt x="76" y="104"/>
                    <a:pt x="76" y="92"/>
                  </a:cubicBezTo>
                  <a:cubicBezTo>
                    <a:pt x="76" y="79"/>
                    <a:pt x="75" y="66"/>
                    <a:pt x="76" y="56"/>
                  </a:cubicBezTo>
                  <a:cubicBezTo>
                    <a:pt x="76" y="48"/>
                    <a:pt x="79" y="47"/>
                    <a:pt x="85" y="45"/>
                  </a:cubicBezTo>
                  <a:cubicBezTo>
                    <a:pt x="87" y="45"/>
                    <a:pt x="91" y="47"/>
                    <a:pt x="90" y="42"/>
                  </a:cubicBezTo>
                  <a:cubicBezTo>
                    <a:pt x="76" y="40"/>
                    <a:pt x="59" y="41"/>
                    <a:pt x="44" y="41"/>
                  </a:cubicBezTo>
                  <a:cubicBezTo>
                    <a:pt x="44" y="41"/>
                    <a:pt x="44" y="41"/>
                    <a:pt x="44" y="42"/>
                  </a:cubicBezTo>
                  <a:moveTo>
                    <a:pt x="139" y="42"/>
                  </a:moveTo>
                  <a:cubicBezTo>
                    <a:pt x="139" y="45"/>
                    <a:pt x="139" y="45"/>
                    <a:pt x="139" y="45"/>
                  </a:cubicBezTo>
                  <a:cubicBezTo>
                    <a:pt x="147" y="45"/>
                    <a:pt x="151" y="47"/>
                    <a:pt x="152" y="56"/>
                  </a:cubicBezTo>
                  <a:cubicBezTo>
                    <a:pt x="153" y="66"/>
                    <a:pt x="152" y="78"/>
                    <a:pt x="152" y="93"/>
                  </a:cubicBezTo>
                  <a:cubicBezTo>
                    <a:pt x="152" y="106"/>
                    <a:pt x="153" y="120"/>
                    <a:pt x="152" y="130"/>
                  </a:cubicBezTo>
                  <a:cubicBezTo>
                    <a:pt x="152" y="132"/>
                    <a:pt x="151" y="136"/>
                    <a:pt x="151" y="137"/>
                  </a:cubicBezTo>
                  <a:cubicBezTo>
                    <a:pt x="148" y="140"/>
                    <a:pt x="139" y="140"/>
                    <a:pt x="139" y="142"/>
                  </a:cubicBezTo>
                  <a:cubicBezTo>
                    <a:pt x="138" y="143"/>
                    <a:pt x="139" y="143"/>
                    <a:pt x="139" y="144"/>
                  </a:cubicBezTo>
                  <a:cubicBezTo>
                    <a:pt x="146" y="146"/>
                    <a:pt x="162" y="145"/>
                    <a:pt x="173" y="145"/>
                  </a:cubicBezTo>
                  <a:cubicBezTo>
                    <a:pt x="177" y="145"/>
                    <a:pt x="186" y="147"/>
                    <a:pt x="184" y="141"/>
                  </a:cubicBezTo>
                  <a:cubicBezTo>
                    <a:pt x="181" y="140"/>
                    <a:pt x="175" y="140"/>
                    <a:pt x="173" y="138"/>
                  </a:cubicBezTo>
                  <a:cubicBezTo>
                    <a:pt x="170" y="135"/>
                    <a:pt x="170" y="124"/>
                    <a:pt x="170" y="118"/>
                  </a:cubicBezTo>
                  <a:cubicBezTo>
                    <a:pt x="170" y="94"/>
                    <a:pt x="170" y="94"/>
                    <a:pt x="170" y="94"/>
                  </a:cubicBezTo>
                  <a:cubicBezTo>
                    <a:pt x="170" y="82"/>
                    <a:pt x="167" y="53"/>
                    <a:pt x="173" y="48"/>
                  </a:cubicBezTo>
                  <a:cubicBezTo>
                    <a:pt x="176" y="44"/>
                    <a:pt x="186" y="47"/>
                    <a:pt x="184" y="41"/>
                  </a:cubicBezTo>
                  <a:cubicBezTo>
                    <a:pt x="170" y="40"/>
                    <a:pt x="154" y="41"/>
                    <a:pt x="139" y="41"/>
                  </a:cubicBezTo>
                  <a:cubicBezTo>
                    <a:pt x="139" y="41"/>
                    <a:pt x="139" y="41"/>
                    <a:pt x="139" y="42"/>
                  </a:cubicBezTo>
                  <a:moveTo>
                    <a:pt x="397" y="45"/>
                  </a:moveTo>
                  <a:cubicBezTo>
                    <a:pt x="410" y="44"/>
                    <a:pt x="410" y="53"/>
                    <a:pt x="411" y="67"/>
                  </a:cubicBezTo>
                  <a:cubicBezTo>
                    <a:pt x="411" y="83"/>
                    <a:pt x="411" y="99"/>
                    <a:pt x="411" y="115"/>
                  </a:cubicBezTo>
                  <a:cubicBezTo>
                    <a:pt x="411" y="123"/>
                    <a:pt x="411" y="134"/>
                    <a:pt x="408" y="137"/>
                  </a:cubicBezTo>
                  <a:cubicBezTo>
                    <a:pt x="405" y="141"/>
                    <a:pt x="398" y="139"/>
                    <a:pt x="395" y="141"/>
                  </a:cubicBezTo>
                  <a:cubicBezTo>
                    <a:pt x="395" y="144"/>
                    <a:pt x="395" y="144"/>
                    <a:pt x="395" y="144"/>
                  </a:cubicBezTo>
                  <a:cubicBezTo>
                    <a:pt x="421" y="145"/>
                    <a:pt x="448" y="145"/>
                    <a:pt x="474" y="145"/>
                  </a:cubicBezTo>
                  <a:cubicBezTo>
                    <a:pt x="476" y="137"/>
                    <a:pt x="478" y="128"/>
                    <a:pt x="479" y="119"/>
                  </a:cubicBezTo>
                  <a:cubicBezTo>
                    <a:pt x="473" y="116"/>
                    <a:pt x="473" y="123"/>
                    <a:pt x="471" y="127"/>
                  </a:cubicBezTo>
                  <a:cubicBezTo>
                    <a:pt x="467" y="136"/>
                    <a:pt x="460" y="139"/>
                    <a:pt x="447" y="139"/>
                  </a:cubicBezTo>
                  <a:cubicBezTo>
                    <a:pt x="444" y="139"/>
                    <a:pt x="436" y="139"/>
                    <a:pt x="432" y="137"/>
                  </a:cubicBezTo>
                  <a:cubicBezTo>
                    <a:pt x="428" y="135"/>
                    <a:pt x="428" y="125"/>
                    <a:pt x="428" y="118"/>
                  </a:cubicBezTo>
                  <a:cubicBezTo>
                    <a:pt x="428" y="109"/>
                    <a:pt x="428" y="101"/>
                    <a:pt x="428" y="94"/>
                  </a:cubicBezTo>
                  <a:cubicBezTo>
                    <a:pt x="437" y="96"/>
                    <a:pt x="449" y="92"/>
                    <a:pt x="455" y="96"/>
                  </a:cubicBezTo>
                  <a:cubicBezTo>
                    <a:pt x="458" y="99"/>
                    <a:pt x="456" y="104"/>
                    <a:pt x="459" y="108"/>
                  </a:cubicBezTo>
                  <a:cubicBezTo>
                    <a:pt x="463" y="108"/>
                    <a:pt x="463" y="108"/>
                    <a:pt x="463" y="108"/>
                  </a:cubicBezTo>
                  <a:cubicBezTo>
                    <a:pt x="463" y="74"/>
                    <a:pt x="463" y="74"/>
                    <a:pt x="463" y="74"/>
                  </a:cubicBezTo>
                  <a:cubicBezTo>
                    <a:pt x="458" y="74"/>
                    <a:pt x="458" y="74"/>
                    <a:pt x="458" y="74"/>
                  </a:cubicBezTo>
                  <a:cubicBezTo>
                    <a:pt x="457" y="79"/>
                    <a:pt x="458" y="84"/>
                    <a:pt x="454" y="86"/>
                  </a:cubicBezTo>
                  <a:cubicBezTo>
                    <a:pt x="448" y="89"/>
                    <a:pt x="436" y="86"/>
                    <a:pt x="428" y="87"/>
                  </a:cubicBezTo>
                  <a:cubicBezTo>
                    <a:pt x="429" y="76"/>
                    <a:pt x="426" y="57"/>
                    <a:pt x="430" y="47"/>
                  </a:cubicBezTo>
                  <a:cubicBezTo>
                    <a:pt x="441" y="48"/>
                    <a:pt x="453" y="45"/>
                    <a:pt x="460" y="50"/>
                  </a:cubicBezTo>
                  <a:cubicBezTo>
                    <a:pt x="465" y="53"/>
                    <a:pt x="464" y="60"/>
                    <a:pt x="468" y="65"/>
                  </a:cubicBezTo>
                  <a:cubicBezTo>
                    <a:pt x="469" y="66"/>
                    <a:pt x="469" y="65"/>
                    <a:pt x="471" y="65"/>
                  </a:cubicBezTo>
                  <a:cubicBezTo>
                    <a:pt x="471" y="58"/>
                    <a:pt x="470" y="48"/>
                    <a:pt x="469" y="41"/>
                  </a:cubicBezTo>
                  <a:cubicBezTo>
                    <a:pt x="397" y="41"/>
                    <a:pt x="397" y="41"/>
                    <a:pt x="397" y="41"/>
                  </a:cubicBezTo>
                  <a:cubicBezTo>
                    <a:pt x="396" y="41"/>
                    <a:pt x="397" y="44"/>
                    <a:pt x="397" y="45"/>
                  </a:cubicBezTo>
                  <a:moveTo>
                    <a:pt x="495" y="42"/>
                  </a:moveTo>
                  <a:cubicBezTo>
                    <a:pt x="495" y="45"/>
                    <a:pt x="495" y="45"/>
                    <a:pt x="495" y="45"/>
                  </a:cubicBezTo>
                  <a:cubicBezTo>
                    <a:pt x="498" y="46"/>
                    <a:pt x="504" y="45"/>
                    <a:pt x="506" y="48"/>
                  </a:cubicBezTo>
                  <a:cubicBezTo>
                    <a:pt x="509" y="52"/>
                    <a:pt x="508" y="62"/>
                    <a:pt x="508" y="70"/>
                  </a:cubicBezTo>
                  <a:cubicBezTo>
                    <a:pt x="508" y="117"/>
                    <a:pt x="508" y="117"/>
                    <a:pt x="508" y="117"/>
                  </a:cubicBezTo>
                  <a:cubicBezTo>
                    <a:pt x="508" y="131"/>
                    <a:pt x="509" y="138"/>
                    <a:pt x="499" y="140"/>
                  </a:cubicBezTo>
                  <a:cubicBezTo>
                    <a:pt x="498" y="141"/>
                    <a:pt x="493" y="139"/>
                    <a:pt x="494" y="143"/>
                  </a:cubicBezTo>
                  <a:cubicBezTo>
                    <a:pt x="494" y="146"/>
                    <a:pt x="495" y="145"/>
                    <a:pt x="497" y="145"/>
                  </a:cubicBezTo>
                  <a:cubicBezTo>
                    <a:pt x="508" y="146"/>
                    <a:pt x="523" y="145"/>
                    <a:pt x="533" y="145"/>
                  </a:cubicBezTo>
                  <a:cubicBezTo>
                    <a:pt x="573" y="145"/>
                    <a:pt x="602" y="127"/>
                    <a:pt x="601" y="88"/>
                  </a:cubicBezTo>
                  <a:cubicBezTo>
                    <a:pt x="601" y="71"/>
                    <a:pt x="593" y="58"/>
                    <a:pt x="584" y="51"/>
                  </a:cubicBezTo>
                  <a:cubicBezTo>
                    <a:pt x="564" y="37"/>
                    <a:pt x="530" y="42"/>
                    <a:pt x="496" y="41"/>
                  </a:cubicBezTo>
                  <a:cubicBezTo>
                    <a:pt x="495" y="41"/>
                    <a:pt x="495" y="41"/>
                    <a:pt x="495" y="42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1"/>
            <p:cNvSpPr>
              <a:spLocks/>
            </p:cNvSpPr>
            <p:nvPr userDrawn="1"/>
          </p:nvSpPr>
          <p:spPr bwMode="auto">
            <a:xfrm>
              <a:off x="3311" y="1478"/>
              <a:ext cx="135" cy="229"/>
            </a:xfrm>
            <a:custGeom>
              <a:avLst/>
              <a:gdLst>
                <a:gd name="T0" fmla="*/ 3 w 57"/>
                <a:gd name="T1" fmla="*/ 6 h 97"/>
                <a:gd name="T2" fmla="*/ 57 w 57"/>
                <a:gd name="T3" fmla="*/ 51 h 97"/>
                <a:gd name="T4" fmla="*/ 22 w 57"/>
                <a:gd name="T5" fmla="*/ 97 h 97"/>
                <a:gd name="T6" fmla="*/ 6 w 57"/>
                <a:gd name="T7" fmla="*/ 94 h 97"/>
                <a:gd name="T8" fmla="*/ 2 w 57"/>
                <a:gd name="T9" fmla="*/ 51 h 97"/>
                <a:gd name="T10" fmla="*/ 3 w 57"/>
                <a:gd name="T11" fmla="*/ 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97">
                  <a:moveTo>
                    <a:pt x="3" y="6"/>
                  </a:moveTo>
                  <a:cubicBezTo>
                    <a:pt x="38" y="0"/>
                    <a:pt x="57" y="18"/>
                    <a:pt x="57" y="51"/>
                  </a:cubicBezTo>
                  <a:cubicBezTo>
                    <a:pt x="57" y="74"/>
                    <a:pt x="46" y="94"/>
                    <a:pt x="22" y="97"/>
                  </a:cubicBezTo>
                  <a:cubicBezTo>
                    <a:pt x="16" y="97"/>
                    <a:pt x="9" y="97"/>
                    <a:pt x="6" y="94"/>
                  </a:cubicBezTo>
                  <a:cubicBezTo>
                    <a:pt x="0" y="89"/>
                    <a:pt x="2" y="62"/>
                    <a:pt x="2" y="51"/>
                  </a:cubicBezTo>
                  <a:cubicBezTo>
                    <a:pt x="2" y="35"/>
                    <a:pt x="1" y="20"/>
                    <a:pt x="3" y="6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2"/>
            <p:cNvSpPr>
              <a:spLocks/>
            </p:cNvSpPr>
            <p:nvPr userDrawn="1"/>
          </p:nvSpPr>
          <p:spPr bwMode="auto">
            <a:xfrm>
              <a:off x="2914" y="1903"/>
              <a:ext cx="321" cy="501"/>
            </a:xfrm>
            <a:custGeom>
              <a:avLst/>
              <a:gdLst>
                <a:gd name="T0" fmla="*/ 123 w 136"/>
                <a:gd name="T1" fmla="*/ 13 h 212"/>
                <a:gd name="T2" fmla="*/ 123 w 136"/>
                <a:gd name="T3" fmla="*/ 43 h 212"/>
                <a:gd name="T4" fmla="*/ 46 w 136"/>
                <a:gd name="T5" fmla="*/ 44 h 212"/>
                <a:gd name="T6" fmla="*/ 44 w 136"/>
                <a:gd name="T7" fmla="*/ 64 h 212"/>
                <a:gd name="T8" fmla="*/ 75 w 136"/>
                <a:gd name="T9" fmla="*/ 85 h 212"/>
                <a:gd name="T10" fmla="*/ 132 w 136"/>
                <a:gd name="T11" fmla="*/ 133 h 212"/>
                <a:gd name="T12" fmla="*/ 129 w 136"/>
                <a:gd name="T13" fmla="*/ 176 h 212"/>
                <a:gd name="T14" fmla="*/ 77 w 136"/>
                <a:gd name="T15" fmla="*/ 209 h 212"/>
                <a:gd name="T16" fmla="*/ 5 w 136"/>
                <a:gd name="T17" fmla="*/ 200 h 212"/>
                <a:gd name="T18" fmla="*/ 5 w 136"/>
                <a:gd name="T19" fmla="*/ 170 h 212"/>
                <a:gd name="T20" fmla="*/ 90 w 136"/>
                <a:gd name="T21" fmla="*/ 166 h 212"/>
                <a:gd name="T22" fmla="*/ 91 w 136"/>
                <a:gd name="T23" fmla="*/ 146 h 212"/>
                <a:gd name="T24" fmla="*/ 51 w 136"/>
                <a:gd name="T25" fmla="*/ 119 h 212"/>
                <a:gd name="T26" fmla="*/ 2 w 136"/>
                <a:gd name="T27" fmla="*/ 57 h 212"/>
                <a:gd name="T28" fmla="*/ 24 w 136"/>
                <a:gd name="T29" fmla="*/ 18 h 212"/>
                <a:gd name="T30" fmla="*/ 123 w 136"/>
                <a:gd name="T31" fmla="*/ 1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6" h="212">
                  <a:moveTo>
                    <a:pt x="123" y="13"/>
                  </a:moveTo>
                  <a:cubicBezTo>
                    <a:pt x="123" y="43"/>
                    <a:pt x="123" y="43"/>
                    <a:pt x="123" y="43"/>
                  </a:cubicBezTo>
                  <a:cubicBezTo>
                    <a:pt x="104" y="36"/>
                    <a:pt x="59" y="24"/>
                    <a:pt x="46" y="44"/>
                  </a:cubicBezTo>
                  <a:cubicBezTo>
                    <a:pt x="43" y="49"/>
                    <a:pt x="42" y="57"/>
                    <a:pt x="44" y="64"/>
                  </a:cubicBezTo>
                  <a:cubicBezTo>
                    <a:pt x="48" y="74"/>
                    <a:pt x="64" y="80"/>
                    <a:pt x="75" y="85"/>
                  </a:cubicBezTo>
                  <a:cubicBezTo>
                    <a:pt x="99" y="96"/>
                    <a:pt x="124" y="106"/>
                    <a:pt x="132" y="133"/>
                  </a:cubicBezTo>
                  <a:cubicBezTo>
                    <a:pt x="136" y="145"/>
                    <a:pt x="135" y="163"/>
                    <a:pt x="129" y="176"/>
                  </a:cubicBezTo>
                  <a:cubicBezTo>
                    <a:pt x="120" y="194"/>
                    <a:pt x="100" y="206"/>
                    <a:pt x="77" y="209"/>
                  </a:cubicBezTo>
                  <a:cubicBezTo>
                    <a:pt x="52" y="212"/>
                    <a:pt x="27" y="207"/>
                    <a:pt x="5" y="200"/>
                  </a:cubicBezTo>
                  <a:cubicBezTo>
                    <a:pt x="5" y="170"/>
                    <a:pt x="5" y="170"/>
                    <a:pt x="5" y="170"/>
                  </a:cubicBezTo>
                  <a:cubicBezTo>
                    <a:pt x="27" y="178"/>
                    <a:pt x="79" y="190"/>
                    <a:pt x="90" y="166"/>
                  </a:cubicBezTo>
                  <a:cubicBezTo>
                    <a:pt x="93" y="161"/>
                    <a:pt x="94" y="153"/>
                    <a:pt x="91" y="146"/>
                  </a:cubicBezTo>
                  <a:cubicBezTo>
                    <a:pt x="86" y="133"/>
                    <a:pt x="64" y="126"/>
                    <a:pt x="51" y="119"/>
                  </a:cubicBezTo>
                  <a:cubicBezTo>
                    <a:pt x="26" y="107"/>
                    <a:pt x="0" y="94"/>
                    <a:pt x="2" y="57"/>
                  </a:cubicBezTo>
                  <a:cubicBezTo>
                    <a:pt x="3" y="38"/>
                    <a:pt x="12" y="27"/>
                    <a:pt x="24" y="18"/>
                  </a:cubicBezTo>
                  <a:cubicBezTo>
                    <a:pt x="47" y="2"/>
                    <a:pt x="94" y="0"/>
                    <a:pt x="123" y="13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3"/>
            <p:cNvSpPr>
              <a:spLocks/>
            </p:cNvSpPr>
            <p:nvPr userDrawn="1"/>
          </p:nvSpPr>
          <p:spPr bwMode="auto">
            <a:xfrm>
              <a:off x="2074" y="1920"/>
              <a:ext cx="377" cy="472"/>
            </a:xfrm>
            <a:custGeom>
              <a:avLst/>
              <a:gdLst>
                <a:gd name="T0" fmla="*/ 0 w 160"/>
                <a:gd name="T1" fmla="*/ 0 h 200"/>
                <a:gd name="T2" fmla="*/ 60 w 160"/>
                <a:gd name="T3" fmla="*/ 0 h 200"/>
                <a:gd name="T4" fmla="*/ 122 w 160"/>
                <a:gd name="T5" fmla="*/ 144 h 200"/>
                <a:gd name="T6" fmla="*/ 123 w 160"/>
                <a:gd name="T7" fmla="*/ 0 h 200"/>
                <a:gd name="T8" fmla="*/ 160 w 160"/>
                <a:gd name="T9" fmla="*/ 0 h 200"/>
                <a:gd name="T10" fmla="*/ 160 w 160"/>
                <a:gd name="T11" fmla="*/ 200 h 200"/>
                <a:gd name="T12" fmla="*/ 107 w 160"/>
                <a:gd name="T13" fmla="*/ 200 h 200"/>
                <a:gd name="T14" fmla="*/ 37 w 160"/>
                <a:gd name="T15" fmla="*/ 43 h 200"/>
                <a:gd name="T16" fmla="*/ 37 w 160"/>
                <a:gd name="T17" fmla="*/ 200 h 200"/>
                <a:gd name="T18" fmla="*/ 0 w 160"/>
                <a:gd name="T19" fmla="*/ 200 h 200"/>
                <a:gd name="T20" fmla="*/ 0 w 160"/>
                <a:gd name="T21" fmla="*/ 1 h 200"/>
                <a:gd name="T22" fmla="*/ 0 w 160"/>
                <a:gd name="T23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0" h="200">
                  <a:moveTo>
                    <a:pt x="0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81" y="48"/>
                    <a:pt x="102" y="95"/>
                    <a:pt x="122" y="144"/>
                  </a:cubicBezTo>
                  <a:cubicBezTo>
                    <a:pt x="123" y="97"/>
                    <a:pt x="123" y="48"/>
                    <a:pt x="123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60" y="200"/>
                    <a:pt x="160" y="200"/>
                    <a:pt x="160" y="200"/>
                  </a:cubicBezTo>
                  <a:cubicBezTo>
                    <a:pt x="107" y="200"/>
                    <a:pt x="107" y="200"/>
                    <a:pt x="107" y="200"/>
                  </a:cubicBezTo>
                  <a:cubicBezTo>
                    <a:pt x="83" y="149"/>
                    <a:pt x="61" y="95"/>
                    <a:pt x="37" y="43"/>
                  </a:cubicBezTo>
                  <a:cubicBezTo>
                    <a:pt x="37" y="200"/>
                    <a:pt x="37" y="200"/>
                    <a:pt x="37" y="200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4"/>
            <p:cNvSpPr>
              <a:spLocks/>
            </p:cNvSpPr>
            <p:nvPr userDrawn="1"/>
          </p:nvSpPr>
          <p:spPr bwMode="auto">
            <a:xfrm>
              <a:off x="2489" y="1920"/>
              <a:ext cx="416" cy="472"/>
            </a:xfrm>
            <a:custGeom>
              <a:avLst/>
              <a:gdLst>
                <a:gd name="T0" fmla="*/ 48 w 176"/>
                <a:gd name="T1" fmla="*/ 0 h 200"/>
                <a:gd name="T2" fmla="*/ 92 w 176"/>
                <a:gd name="T3" fmla="*/ 88 h 200"/>
                <a:gd name="T4" fmla="*/ 136 w 176"/>
                <a:gd name="T5" fmla="*/ 0 h 200"/>
                <a:gd name="T6" fmla="*/ 176 w 176"/>
                <a:gd name="T7" fmla="*/ 0 h 200"/>
                <a:gd name="T8" fmla="*/ 117 w 176"/>
                <a:gd name="T9" fmla="*/ 109 h 200"/>
                <a:gd name="T10" fmla="*/ 109 w 176"/>
                <a:gd name="T11" fmla="*/ 125 h 200"/>
                <a:gd name="T12" fmla="*/ 109 w 176"/>
                <a:gd name="T13" fmla="*/ 144 h 200"/>
                <a:gd name="T14" fmla="*/ 109 w 176"/>
                <a:gd name="T15" fmla="*/ 200 h 200"/>
                <a:gd name="T16" fmla="*/ 66 w 176"/>
                <a:gd name="T17" fmla="*/ 200 h 200"/>
                <a:gd name="T18" fmla="*/ 66 w 176"/>
                <a:gd name="T19" fmla="*/ 143 h 200"/>
                <a:gd name="T20" fmla="*/ 66 w 176"/>
                <a:gd name="T21" fmla="*/ 124 h 200"/>
                <a:gd name="T22" fmla="*/ 58 w 176"/>
                <a:gd name="T23" fmla="*/ 108 h 200"/>
                <a:gd name="T24" fmla="*/ 1 w 176"/>
                <a:gd name="T25" fmla="*/ 0 h 200"/>
                <a:gd name="T26" fmla="*/ 2 w 176"/>
                <a:gd name="T27" fmla="*/ 0 h 200"/>
                <a:gd name="T28" fmla="*/ 48 w 176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6" h="200">
                  <a:moveTo>
                    <a:pt x="48" y="0"/>
                  </a:moveTo>
                  <a:cubicBezTo>
                    <a:pt x="63" y="29"/>
                    <a:pt x="77" y="58"/>
                    <a:pt x="92" y="88"/>
                  </a:cubicBezTo>
                  <a:cubicBezTo>
                    <a:pt x="107" y="59"/>
                    <a:pt x="121" y="29"/>
                    <a:pt x="136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57" y="36"/>
                    <a:pt x="137" y="72"/>
                    <a:pt x="117" y="109"/>
                  </a:cubicBezTo>
                  <a:cubicBezTo>
                    <a:pt x="115" y="114"/>
                    <a:pt x="110" y="120"/>
                    <a:pt x="109" y="125"/>
                  </a:cubicBezTo>
                  <a:cubicBezTo>
                    <a:pt x="108" y="130"/>
                    <a:pt x="109" y="137"/>
                    <a:pt x="109" y="144"/>
                  </a:cubicBezTo>
                  <a:cubicBezTo>
                    <a:pt x="109" y="200"/>
                    <a:pt x="109" y="200"/>
                    <a:pt x="109" y="200"/>
                  </a:cubicBezTo>
                  <a:cubicBezTo>
                    <a:pt x="66" y="200"/>
                    <a:pt x="66" y="200"/>
                    <a:pt x="66" y="200"/>
                  </a:cubicBezTo>
                  <a:cubicBezTo>
                    <a:pt x="66" y="143"/>
                    <a:pt x="66" y="143"/>
                    <a:pt x="66" y="143"/>
                  </a:cubicBezTo>
                  <a:cubicBezTo>
                    <a:pt x="66" y="137"/>
                    <a:pt x="67" y="130"/>
                    <a:pt x="66" y="124"/>
                  </a:cubicBezTo>
                  <a:cubicBezTo>
                    <a:pt x="66" y="120"/>
                    <a:pt x="61" y="113"/>
                    <a:pt x="58" y="108"/>
                  </a:cubicBezTo>
                  <a:cubicBezTo>
                    <a:pt x="39" y="73"/>
                    <a:pt x="19" y="36"/>
                    <a:pt x="1" y="0"/>
                  </a:cubicBezTo>
                  <a:cubicBezTo>
                    <a:pt x="0" y="0"/>
                    <a:pt x="2" y="0"/>
                    <a:pt x="2" y="0"/>
                  </a:cubicBez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5"/>
            <p:cNvSpPr>
              <a:spLocks/>
            </p:cNvSpPr>
            <p:nvPr userDrawn="1"/>
          </p:nvSpPr>
          <p:spPr bwMode="auto">
            <a:xfrm>
              <a:off x="3304" y="1918"/>
              <a:ext cx="297" cy="474"/>
            </a:xfrm>
            <a:custGeom>
              <a:avLst/>
              <a:gdLst>
                <a:gd name="T0" fmla="*/ 1 w 126"/>
                <a:gd name="T1" fmla="*/ 1 h 201"/>
                <a:gd name="T2" fmla="*/ 122 w 126"/>
                <a:gd name="T3" fmla="*/ 1 h 201"/>
                <a:gd name="T4" fmla="*/ 122 w 126"/>
                <a:gd name="T5" fmla="*/ 29 h 201"/>
                <a:gd name="T6" fmla="*/ 42 w 126"/>
                <a:gd name="T7" fmla="*/ 30 h 201"/>
                <a:gd name="T8" fmla="*/ 41 w 126"/>
                <a:gd name="T9" fmla="*/ 83 h 201"/>
                <a:gd name="T10" fmla="*/ 115 w 126"/>
                <a:gd name="T11" fmla="*/ 83 h 201"/>
                <a:gd name="T12" fmla="*/ 115 w 126"/>
                <a:gd name="T13" fmla="*/ 112 h 201"/>
                <a:gd name="T14" fmla="*/ 42 w 126"/>
                <a:gd name="T15" fmla="*/ 112 h 201"/>
                <a:gd name="T16" fmla="*/ 41 w 126"/>
                <a:gd name="T17" fmla="*/ 173 h 201"/>
                <a:gd name="T18" fmla="*/ 125 w 126"/>
                <a:gd name="T19" fmla="*/ 173 h 201"/>
                <a:gd name="T20" fmla="*/ 125 w 126"/>
                <a:gd name="T21" fmla="*/ 201 h 201"/>
                <a:gd name="T22" fmla="*/ 1 w 126"/>
                <a:gd name="T23" fmla="*/ 201 h 201"/>
                <a:gd name="T24" fmla="*/ 1 w 126"/>
                <a:gd name="T25" fmla="*/ 2 h 201"/>
                <a:gd name="T26" fmla="*/ 1 w 126"/>
                <a:gd name="T27" fmla="*/ 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6" h="201">
                  <a:moveTo>
                    <a:pt x="1" y="1"/>
                  </a:moveTo>
                  <a:cubicBezTo>
                    <a:pt x="41" y="1"/>
                    <a:pt x="82" y="0"/>
                    <a:pt x="122" y="1"/>
                  </a:cubicBezTo>
                  <a:cubicBezTo>
                    <a:pt x="122" y="29"/>
                    <a:pt x="122" y="29"/>
                    <a:pt x="122" y="29"/>
                  </a:cubicBezTo>
                  <a:cubicBezTo>
                    <a:pt x="96" y="30"/>
                    <a:pt x="69" y="29"/>
                    <a:pt x="42" y="30"/>
                  </a:cubicBezTo>
                  <a:cubicBezTo>
                    <a:pt x="41" y="46"/>
                    <a:pt x="43" y="66"/>
                    <a:pt x="41" y="83"/>
                  </a:cubicBezTo>
                  <a:cubicBezTo>
                    <a:pt x="65" y="84"/>
                    <a:pt x="90" y="83"/>
                    <a:pt x="115" y="83"/>
                  </a:cubicBezTo>
                  <a:cubicBezTo>
                    <a:pt x="115" y="112"/>
                    <a:pt x="115" y="112"/>
                    <a:pt x="115" y="112"/>
                  </a:cubicBezTo>
                  <a:cubicBezTo>
                    <a:pt x="42" y="112"/>
                    <a:pt x="42" y="112"/>
                    <a:pt x="42" y="112"/>
                  </a:cubicBezTo>
                  <a:cubicBezTo>
                    <a:pt x="41" y="131"/>
                    <a:pt x="43" y="154"/>
                    <a:pt x="41" y="173"/>
                  </a:cubicBezTo>
                  <a:cubicBezTo>
                    <a:pt x="125" y="173"/>
                    <a:pt x="125" y="173"/>
                    <a:pt x="125" y="173"/>
                  </a:cubicBezTo>
                  <a:cubicBezTo>
                    <a:pt x="126" y="181"/>
                    <a:pt x="125" y="192"/>
                    <a:pt x="125" y="201"/>
                  </a:cubicBezTo>
                  <a:cubicBezTo>
                    <a:pt x="1" y="201"/>
                    <a:pt x="1" y="201"/>
                    <a:pt x="1" y="20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0" y="1"/>
                    <a:pt x="1" y="1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6"/>
            <p:cNvSpPr>
              <a:spLocks noEditPoints="1"/>
            </p:cNvSpPr>
            <p:nvPr userDrawn="1"/>
          </p:nvSpPr>
          <p:spPr bwMode="auto">
            <a:xfrm>
              <a:off x="3606" y="2322"/>
              <a:ext cx="83" cy="82"/>
            </a:xfrm>
            <a:custGeom>
              <a:avLst/>
              <a:gdLst>
                <a:gd name="T0" fmla="*/ 14 w 35"/>
                <a:gd name="T1" fmla="*/ 2 h 35"/>
                <a:gd name="T2" fmla="*/ 32 w 35"/>
                <a:gd name="T3" fmla="*/ 16 h 35"/>
                <a:gd name="T4" fmla="*/ 4 w 35"/>
                <a:gd name="T5" fmla="*/ 22 h 35"/>
                <a:gd name="T6" fmla="*/ 14 w 35"/>
                <a:gd name="T7" fmla="*/ 2 h 35"/>
                <a:gd name="T8" fmla="*/ 6 w 35"/>
                <a:gd name="T9" fmla="*/ 20 h 35"/>
                <a:gd name="T10" fmla="*/ 28 w 35"/>
                <a:gd name="T11" fmla="*/ 10 h 35"/>
                <a:gd name="T12" fmla="*/ 15 w 35"/>
                <a:gd name="T13" fmla="*/ 4 h 35"/>
                <a:gd name="T14" fmla="*/ 6 w 35"/>
                <a:gd name="T15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35">
                  <a:moveTo>
                    <a:pt x="14" y="2"/>
                  </a:moveTo>
                  <a:cubicBezTo>
                    <a:pt x="24" y="0"/>
                    <a:pt x="32" y="7"/>
                    <a:pt x="32" y="16"/>
                  </a:cubicBezTo>
                  <a:cubicBezTo>
                    <a:pt x="31" y="31"/>
                    <a:pt x="10" y="35"/>
                    <a:pt x="4" y="22"/>
                  </a:cubicBezTo>
                  <a:cubicBezTo>
                    <a:pt x="0" y="13"/>
                    <a:pt x="4" y="4"/>
                    <a:pt x="14" y="2"/>
                  </a:cubicBezTo>
                  <a:moveTo>
                    <a:pt x="6" y="20"/>
                  </a:moveTo>
                  <a:cubicBezTo>
                    <a:pt x="11" y="34"/>
                    <a:pt x="35" y="26"/>
                    <a:pt x="28" y="10"/>
                  </a:cubicBezTo>
                  <a:cubicBezTo>
                    <a:pt x="26" y="6"/>
                    <a:pt x="21" y="3"/>
                    <a:pt x="15" y="4"/>
                  </a:cubicBezTo>
                  <a:cubicBezTo>
                    <a:pt x="8" y="6"/>
                    <a:pt x="4" y="13"/>
                    <a:pt x="6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7"/>
            <p:cNvSpPr>
              <a:spLocks noEditPoints="1"/>
            </p:cNvSpPr>
            <p:nvPr userDrawn="1"/>
          </p:nvSpPr>
          <p:spPr bwMode="auto">
            <a:xfrm>
              <a:off x="3632" y="2338"/>
              <a:ext cx="33" cy="45"/>
            </a:xfrm>
            <a:custGeom>
              <a:avLst/>
              <a:gdLst>
                <a:gd name="T0" fmla="*/ 1 w 14"/>
                <a:gd name="T1" fmla="*/ 0 h 19"/>
                <a:gd name="T2" fmla="*/ 12 w 14"/>
                <a:gd name="T3" fmla="*/ 2 h 19"/>
                <a:gd name="T4" fmla="*/ 9 w 14"/>
                <a:gd name="T5" fmla="*/ 10 h 19"/>
                <a:gd name="T6" fmla="*/ 13 w 14"/>
                <a:gd name="T7" fmla="*/ 16 h 19"/>
                <a:gd name="T8" fmla="*/ 4 w 14"/>
                <a:gd name="T9" fmla="*/ 10 h 19"/>
                <a:gd name="T10" fmla="*/ 3 w 14"/>
                <a:gd name="T11" fmla="*/ 17 h 19"/>
                <a:gd name="T12" fmla="*/ 0 w 14"/>
                <a:gd name="T13" fmla="*/ 17 h 19"/>
                <a:gd name="T14" fmla="*/ 1 w 14"/>
                <a:gd name="T15" fmla="*/ 0 h 19"/>
                <a:gd name="T16" fmla="*/ 3 w 14"/>
                <a:gd name="T17" fmla="*/ 8 h 19"/>
                <a:gd name="T18" fmla="*/ 10 w 14"/>
                <a:gd name="T19" fmla="*/ 4 h 19"/>
                <a:gd name="T20" fmla="*/ 3 w 14"/>
                <a:gd name="T21" fmla="*/ 2 h 19"/>
                <a:gd name="T22" fmla="*/ 3 w 14"/>
                <a:gd name="T2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9">
                  <a:moveTo>
                    <a:pt x="1" y="0"/>
                  </a:moveTo>
                  <a:cubicBezTo>
                    <a:pt x="5" y="0"/>
                    <a:pt x="9" y="0"/>
                    <a:pt x="12" y="2"/>
                  </a:cubicBezTo>
                  <a:cubicBezTo>
                    <a:pt x="14" y="5"/>
                    <a:pt x="13" y="10"/>
                    <a:pt x="9" y="10"/>
                  </a:cubicBezTo>
                  <a:cubicBezTo>
                    <a:pt x="10" y="12"/>
                    <a:pt x="12" y="14"/>
                    <a:pt x="13" y="16"/>
                  </a:cubicBezTo>
                  <a:cubicBezTo>
                    <a:pt x="7" y="19"/>
                    <a:pt x="9" y="9"/>
                    <a:pt x="4" y="10"/>
                  </a:cubicBezTo>
                  <a:cubicBezTo>
                    <a:pt x="3" y="11"/>
                    <a:pt x="4" y="15"/>
                    <a:pt x="3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" y="12"/>
                    <a:pt x="0" y="4"/>
                    <a:pt x="1" y="0"/>
                  </a:cubicBezTo>
                  <a:moveTo>
                    <a:pt x="3" y="8"/>
                  </a:moveTo>
                  <a:cubicBezTo>
                    <a:pt x="7" y="8"/>
                    <a:pt x="11" y="8"/>
                    <a:pt x="10" y="4"/>
                  </a:cubicBezTo>
                  <a:cubicBezTo>
                    <a:pt x="9" y="2"/>
                    <a:pt x="6" y="2"/>
                    <a:pt x="3" y="2"/>
                  </a:cubicBezTo>
                  <a:lnTo>
                    <a:pt x="3" y="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8"/>
            <p:cNvSpPr>
              <a:spLocks/>
            </p:cNvSpPr>
            <p:nvPr userDrawn="1"/>
          </p:nvSpPr>
          <p:spPr bwMode="auto">
            <a:xfrm>
              <a:off x="2099" y="847"/>
              <a:ext cx="303" cy="428"/>
            </a:xfrm>
            <a:custGeom>
              <a:avLst/>
              <a:gdLst>
                <a:gd name="T0" fmla="*/ 0 w 303"/>
                <a:gd name="T1" fmla="*/ 428 h 428"/>
                <a:gd name="T2" fmla="*/ 0 w 303"/>
                <a:gd name="T3" fmla="*/ 0 h 428"/>
                <a:gd name="T4" fmla="*/ 88 w 303"/>
                <a:gd name="T5" fmla="*/ 0 h 428"/>
                <a:gd name="T6" fmla="*/ 88 w 303"/>
                <a:gd name="T7" fmla="*/ 355 h 428"/>
                <a:gd name="T8" fmla="*/ 303 w 303"/>
                <a:gd name="T9" fmla="*/ 355 h 428"/>
                <a:gd name="T10" fmla="*/ 303 w 303"/>
                <a:gd name="T11" fmla="*/ 428 h 428"/>
                <a:gd name="T12" fmla="*/ 0 w 303"/>
                <a:gd name="T13" fmla="*/ 428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3" h="428">
                  <a:moveTo>
                    <a:pt x="0" y="428"/>
                  </a:moveTo>
                  <a:lnTo>
                    <a:pt x="0" y="0"/>
                  </a:lnTo>
                  <a:lnTo>
                    <a:pt x="88" y="0"/>
                  </a:lnTo>
                  <a:lnTo>
                    <a:pt x="88" y="355"/>
                  </a:lnTo>
                  <a:lnTo>
                    <a:pt x="303" y="355"/>
                  </a:lnTo>
                  <a:lnTo>
                    <a:pt x="303" y="428"/>
                  </a:lnTo>
                  <a:lnTo>
                    <a:pt x="0" y="42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9"/>
            <p:cNvSpPr>
              <a:spLocks/>
            </p:cNvSpPr>
            <p:nvPr userDrawn="1"/>
          </p:nvSpPr>
          <p:spPr bwMode="auto">
            <a:xfrm>
              <a:off x="2444" y="843"/>
              <a:ext cx="399" cy="432"/>
            </a:xfrm>
            <a:custGeom>
              <a:avLst/>
              <a:gdLst>
                <a:gd name="T0" fmla="*/ 0 w 399"/>
                <a:gd name="T1" fmla="*/ 432 h 432"/>
                <a:gd name="T2" fmla="*/ 147 w 399"/>
                <a:gd name="T3" fmla="*/ 205 h 432"/>
                <a:gd name="T4" fmla="*/ 14 w 399"/>
                <a:gd name="T5" fmla="*/ 0 h 432"/>
                <a:gd name="T6" fmla="*/ 116 w 399"/>
                <a:gd name="T7" fmla="*/ 0 h 432"/>
                <a:gd name="T8" fmla="*/ 201 w 399"/>
                <a:gd name="T9" fmla="*/ 139 h 432"/>
                <a:gd name="T10" fmla="*/ 286 w 399"/>
                <a:gd name="T11" fmla="*/ 0 h 432"/>
                <a:gd name="T12" fmla="*/ 388 w 399"/>
                <a:gd name="T13" fmla="*/ 0 h 432"/>
                <a:gd name="T14" fmla="*/ 253 w 399"/>
                <a:gd name="T15" fmla="*/ 210 h 432"/>
                <a:gd name="T16" fmla="*/ 399 w 399"/>
                <a:gd name="T17" fmla="*/ 432 h 432"/>
                <a:gd name="T18" fmla="*/ 295 w 399"/>
                <a:gd name="T19" fmla="*/ 432 h 432"/>
                <a:gd name="T20" fmla="*/ 201 w 399"/>
                <a:gd name="T21" fmla="*/ 283 h 432"/>
                <a:gd name="T22" fmla="*/ 104 w 399"/>
                <a:gd name="T23" fmla="*/ 432 h 432"/>
                <a:gd name="T24" fmla="*/ 0 w 399"/>
                <a:gd name="T25" fmla="*/ 43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9" h="432">
                  <a:moveTo>
                    <a:pt x="0" y="432"/>
                  </a:moveTo>
                  <a:lnTo>
                    <a:pt x="147" y="205"/>
                  </a:lnTo>
                  <a:lnTo>
                    <a:pt x="14" y="0"/>
                  </a:lnTo>
                  <a:lnTo>
                    <a:pt x="116" y="0"/>
                  </a:lnTo>
                  <a:lnTo>
                    <a:pt x="201" y="139"/>
                  </a:lnTo>
                  <a:lnTo>
                    <a:pt x="286" y="0"/>
                  </a:lnTo>
                  <a:lnTo>
                    <a:pt x="388" y="0"/>
                  </a:lnTo>
                  <a:lnTo>
                    <a:pt x="253" y="210"/>
                  </a:lnTo>
                  <a:lnTo>
                    <a:pt x="399" y="432"/>
                  </a:lnTo>
                  <a:lnTo>
                    <a:pt x="295" y="432"/>
                  </a:lnTo>
                  <a:lnTo>
                    <a:pt x="201" y="283"/>
                  </a:lnTo>
                  <a:lnTo>
                    <a:pt x="104" y="432"/>
                  </a:lnTo>
                  <a:lnTo>
                    <a:pt x="0" y="43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0"/>
            <p:cNvSpPr>
              <a:spLocks/>
            </p:cNvSpPr>
            <p:nvPr userDrawn="1"/>
          </p:nvSpPr>
          <p:spPr bwMode="auto">
            <a:xfrm>
              <a:off x="2914" y="843"/>
              <a:ext cx="295" cy="432"/>
            </a:xfrm>
            <a:custGeom>
              <a:avLst/>
              <a:gdLst>
                <a:gd name="T0" fmla="*/ 0 w 295"/>
                <a:gd name="T1" fmla="*/ 432 h 432"/>
                <a:gd name="T2" fmla="*/ 0 w 295"/>
                <a:gd name="T3" fmla="*/ 0 h 432"/>
                <a:gd name="T4" fmla="*/ 295 w 295"/>
                <a:gd name="T5" fmla="*/ 0 h 432"/>
                <a:gd name="T6" fmla="*/ 295 w 295"/>
                <a:gd name="T7" fmla="*/ 73 h 432"/>
                <a:gd name="T8" fmla="*/ 88 w 295"/>
                <a:gd name="T9" fmla="*/ 73 h 432"/>
                <a:gd name="T10" fmla="*/ 88 w 295"/>
                <a:gd name="T11" fmla="*/ 174 h 432"/>
                <a:gd name="T12" fmla="*/ 267 w 295"/>
                <a:gd name="T13" fmla="*/ 174 h 432"/>
                <a:gd name="T14" fmla="*/ 267 w 295"/>
                <a:gd name="T15" fmla="*/ 248 h 432"/>
                <a:gd name="T16" fmla="*/ 88 w 295"/>
                <a:gd name="T17" fmla="*/ 248 h 432"/>
                <a:gd name="T18" fmla="*/ 88 w 295"/>
                <a:gd name="T19" fmla="*/ 432 h 432"/>
                <a:gd name="T20" fmla="*/ 0 w 295"/>
                <a:gd name="T21" fmla="*/ 43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5" h="432">
                  <a:moveTo>
                    <a:pt x="0" y="432"/>
                  </a:moveTo>
                  <a:lnTo>
                    <a:pt x="0" y="0"/>
                  </a:lnTo>
                  <a:lnTo>
                    <a:pt x="295" y="0"/>
                  </a:lnTo>
                  <a:lnTo>
                    <a:pt x="295" y="73"/>
                  </a:lnTo>
                  <a:lnTo>
                    <a:pt x="88" y="73"/>
                  </a:lnTo>
                  <a:lnTo>
                    <a:pt x="88" y="174"/>
                  </a:lnTo>
                  <a:lnTo>
                    <a:pt x="267" y="174"/>
                  </a:lnTo>
                  <a:lnTo>
                    <a:pt x="267" y="248"/>
                  </a:lnTo>
                  <a:lnTo>
                    <a:pt x="88" y="248"/>
                  </a:lnTo>
                  <a:lnTo>
                    <a:pt x="88" y="432"/>
                  </a:lnTo>
                  <a:lnTo>
                    <a:pt x="0" y="43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1"/>
            <p:cNvSpPr>
              <a:spLocks/>
            </p:cNvSpPr>
            <p:nvPr userDrawn="1"/>
          </p:nvSpPr>
          <p:spPr bwMode="auto">
            <a:xfrm>
              <a:off x="3273" y="843"/>
              <a:ext cx="343" cy="432"/>
            </a:xfrm>
            <a:custGeom>
              <a:avLst/>
              <a:gdLst>
                <a:gd name="T0" fmla="*/ 128 w 343"/>
                <a:gd name="T1" fmla="*/ 432 h 432"/>
                <a:gd name="T2" fmla="*/ 128 w 343"/>
                <a:gd name="T3" fmla="*/ 73 h 432"/>
                <a:gd name="T4" fmla="*/ 0 w 343"/>
                <a:gd name="T5" fmla="*/ 73 h 432"/>
                <a:gd name="T6" fmla="*/ 0 w 343"/>
                <a:gd name="T7" fmla="*/ 0 h 432"/>
                <a:gd name="T8" fmla="*/ 343 w 343"/>
                <a:gd name="T9" fmla="*/ 0 h 432"/>
                <a:gd name="T10" fmla="*/ 343 w 343"/>
                <a:gd name="T11" fmla="*/ 73 h 432"/>
                <a:gd name="T12" fmla="*/ 215 w 343"/>
                <a:gd name="T13" fmla="*/ 73 h 432"/>
                <a:gd name="T14" fmla="*/ 215 w 343"/>
                <a:gd name="T15" fmla="*/ 432 h 432"/>
                <a:gd name="T16" fmla="*/ 128 w 343"/>
                <a:gd name="T17" fmla="*/ 43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432">
                  <a:moveTo>
                    <a:pt x="128" y="432"/>
                  </a:moveTo>
                  <a:lnTo>
                    <a:pt x="128" y="73"/>
                  </a:lnTo>
                  <a:lnTo>
                    <a:pt x="0" y="73"/>
                  </a:lnTo>
                  <a:lnTo>
                    <a:pt x="0" y="0"/>
                  </a:lnTo>
                  <a:lnTo>
                    <a:pt x="343" y="0"/>
                  </a:lnTo>
                  <a:lnTo>
                    <a:pt x="343" y="73"/>
                  </a:lnTo>
                  <a:lnTo>
                    <a:pt x="215" y="73"/>
                  </a:lnTo>
                  <a:lnTo>
                    <a:pt x="215" y="432"/>
                  </a:lnTo>
                  <a:lnTo>
                    <a:pt x="128" y="43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0" name="Tytuł 1"/>
          <p:cNvSpPr>
            <a:spLocks noGrp="1"/>
          </p:cNvSpPr>
          <p:nvPr>
            <p:ph type="title" hasCustomPrompt="1"/>
          </p:nvPr>
        </p:nvSpPr>
        <p:spPr>
          <a:xfrm>
            <a:off x="3933825" y="1496625"/>
            <a:ext cx="4953436" cy="2291750"/>
          </a:xfrm>
        </p:spPr>
        <p:txBody>
          <a:bodyPr anchor="ctr"/>
          <a:lstStyle>
            <a:lvl1pPr algn="l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EDIT TITLE</a:t>
            </a:r>
            <a:endParaRPr lang="en-US" dirty="0"/>
          </a:p>
        </p:txBody>
      </p:sp>
      <p:grpSp>
        <p:nvGrpSpPr>
          <p:cNvPr id="91" name="Group 17"/>
          <p:cNvGrpSpPr>
            <a:grpSpLocks noChangeAspect="1"/>
          </p:cNvGrpSpPr>
          <p:nvPr userDrawn="1"/>
        </p:nvGrpSpPr>
        <p:grpSpPr bwMode="auto">
          <a:xfrm>
            <a:off x="540741" y="4337362"/>
            <a:ext cx="984248" cy="509810"/>
            <a:chOff x="5172" y="892"/>
            <a:chExt cx="1892" cy="980"/>
          </a:xfrm>
        </p:grpSpPr>
        <p:sp>
          <p:nvSpPr>
            <p:cNvPr id="92" name="AutoShape 16"/>
            <p:cNvSpPr>
              <a:spLocks noChangeAspect="1" noChangeArrowheads="1" noTextEdit="1"/>
            </p:cNvSpPr>
            <p:nvPr userDrawn="1"/>
          </p:nvSpPr>
          <p:spPr bwMode="auto">
            <a:xfrm>
              <a:off x="5172" y="892"/>
              <a:ext cx="1892" cy="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18"/>
            <p:cNvSpPr>
              <a:spLocks noEditPoints="1"/>
            </p:cNvSpPr>
            <p:nvPr userDrawn="1"/>
          </p:nvSpPr>
          <p:spPr bwMode="auto">
            <a:xfrm>
              <a:off x="5936" y="1250"/>
              <a:ext cx="345" cy="268"/>
            </a:xfrm>
            <a:custGeom>
              <a:avLst/>
              <a:gdLst>
                <a:gd name="T0" fmla="*/ 953 w 1033"/>
                <a:gd name="T1" fmla="*/ 717 h 803"/>
                <a:gd name="T2" fmla="*/ 965 w 1033"/>
                <a:gd name="T3" fmla="*/ 74 h 803"/>
                <a:gd name="T4" fmla="*/ 993 w 1033"/>
                <a:gd name="T5" fmla="*/ 0 h 803"/>
                <a:gd name="T6" fmla="*/ 626 w 1033"/>
                <a:gd name="T7" fmla="*/ 0 h 803"/>
                <a:gd name="T8" fmla="*/ 662 w 1033"/>
                <a:gd name="T9" fmla="*/ 77 h 803"/>
                <a:gd name="T10" fmla="*/ 521 w 1033"/>
                <a:gd name="T11" fmla="*/ 283 h 803"/>
                <a:gd name="T12" fmla="*/ 428 w 1033"/>
                <a:gd name="T13" fmla="*/ 69 h 803"/>
                <a:gd name="T14" fmla="*/ 428 w 1033"/>
                <a:gd name="T15" fmla="*/ 69 h 803"/>
                <a:gd name="T16" fmla="*/ 32 w 1033"/>
                <a:gd name="T17" fmla="*/ 0 h 803"/>
                <a:gd name="T18" fmla="*/ 32 w 1033"/>
                <a:gd name="T19" fmla="*/ 0 h 803"/>
                <a:gd name="T20" fmla="*/ 81 w 1033"/>
                <a:gd name="T21" fmla="*/ 79 h 803"/>
                <a:gd name="T22" fmla="*/ 98 w 1033"/>
                <a:gd name="T23" fmla="*/ 713 h 803"/>
                <a:gd name="T24" fmla="*/ 428 w 1033"/>
                <a:gd name="T25" fmla="*/ 390 h 803"/>
                <a:gd name="T26" fmla="*/ 98 w 1033"/>
                <a:gd name="T27" fmla="*/ 713 h 803"/>
                <a:gd name="T28" fmla="*/ 9 w 1033"/>
                <a:gd name="T29" fmla="*/ 733 h 803"/>
                <a:gd name="T30" fmla="*/ 0 w 1033"/>
                <a:gd name="T31" fmla="*/ 803 h 803"/>
                <a:gd name="T32" fmla="*/ 385 w 1033"/>
                <a:gd name="T33" fmla="*/ 803 h 803"/>
                <a:gd name="T34" fmla="*/ 385 w 1033"/>
                <a:gd name="T35" fmla="*/ 734 h 803"/>
                <a:gd name="T36" fmla="*/ 328 w 1033"/>
                <a:gd name="T37" fmla="*/ 722 h 803"/>
                <a:gd name="T38" fmla="*/ 280 w 1033"/>
                <a:gd name="T39" fmla="*/ 712 h 803"/>
                <a:gd name="T40" fmla="*/ 538 w 1033"/>
                <a:gd name="T41" fmla="*/ 505 h 803"/>
                <a:gd name="T42" fmla="*/ 525 w 1033"/>
                <a:gd name="T43" fmla="*/ 520 h 803"/>
                <a:gd name="T44" fmla="*/ 633 w 1033"/>
                <a:gd name="T45" fmla="*/ 734 h 803"/>
                <a:gd name="T46" fmla="*/ 1033 w 1033"/>
                <a:gd name="T47" fmla="*/ 803 h 803"/>
                <a:gd name="T48" fmla="*/ 1033 w 1033"/>
                <a:gd name="T49" fmla="*/ 734 h 803"/>
                <a:gd name="T50" fmla="*/ 136 w 1033"/>
                <a:gd name="T51" fmla="*/ 91 h 803"/>
                <a:gd name="T52" fmla="*/ 211 w 1033"/>
                <a:gd name="T53" fmla="*/ 169 h 803"/>
                <a:gd name="T54" fmla="*/ 325 w 1033"/>
                <a:gd name="T55" fmla="*/ 91 h 803"/>
                <a:gd name="T56" fmla="*/ 398 w 1033"/>
                <a:gd name="T57" fmla="*/ 169 h 803"/>
                <a:gd name="T58" fmla="*/ 631 w 1033"/>
                <a:gd name="T59" fmla="*/ 409 h 803"/>
                <a:gd name="T60" fmla="*/ 639 w 1033"/>
                <a:gd name="T61" fmla="*/ 402 h 803"/>
                <a:gd name="T62" fmla="*/ 631 w 1033"/>
                <a:gd name="T63" fmla="*/ 409 h 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3" h="803">
                  <a:moveTo>
                    <a:pt x="1019" y="732"/>
                  </a:moveTo>
                  <a:lnTo>
                    <a:pt x="953" y="717"/>
                  </a:lnTo>
                  <a:lnTo>
                    <a:pt x="639" y="405"/>
                  </a:lnTo>
                  <a:lnTo>
                    <a:pt x="965" y="74"/>
                  </a:lnTo>
                  <a:lnTo>
                    <a:pt x="993" y="69"/>
                  </a:lnTo>
                  <a:lnTo>
                    <a:pt x="993" y="0"/>
                  </a:lnTo>
                  <a:lnTo>
                    <a:pt x="993" y="0"/>
                  </a:lnTo>
                  <a:lnTo>
                    <a:pt x="626" y="0"/>
                  </a:lnTo>
                  <a:lnTo>
                    <a:pt x="626" y="69"/>
                  </a:lnTo>
                  <a:lnTo>
                    <a:pt x="662" y="77"/>
                  </a:lnTo>
                  <a:lnTo>
                    <a:pt x="713" y="88"/>
                  </a:lnTo>
                  <a:lnTo>
                    <a:pt x="521" y="283"/>
                  </a:lnTo>
                  <a:lnTo>
                    <a:pt x="330" y="90"/>
                  </a:lnTo>
                  <a:lnTo>
                    <a:pt x="428" y="69"/>
                  </a:lnTo>
                  <a:lnTo>
                    <a:pt x="428" y="69"/>
                  </a:lnTo>
                  <a:lnTo>
                    <a:pt x="428" y="69"/>
                  </a:lnTo>
                  <a:lnTo>
                    <a:pt x="4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69"/>
                  </a:lnTo>
                  <a:lnTo>
                    <a:pt x="81" y="79"/>
                  </a:lnTo>
                  <a:lnTo>
                    <a:pt x="406" y="397"/>
                  </a:lnTo>
                  <a:lnTo>
                    <a:pt x="98" y="713"/>
                  </a:lnTo>
                  <a:lnTo>
                    <a:pt x="106" y="712"/>
                  </a:lnTo>
                  <a:lnTo>
                    <a:pt x="428" y="390"/>
                  </a:lnTo>
                  <a:lnTo>
                    <a:pt x="106" y="712"/>
                  </a:lnTo>
                  <a:lnTo>
                    <a:pt x="98" y="713"/>
                  </a:lnTo>
                  <a:lnTo>
                    <a:pt x="98" y="713"/>
                  </a:lnTo>
                  <a:lnTo>
                    <a:pt x="9" y="733"/>
                  </a:lnTo>
                  <a:lnTo>
                    <a:pt x="0" y="734"/>
                  </a:lnTo>
                  <a:lnTo>
                    <a:pt x="0" y="803"/>
                  </a:lnTo>
                  <a:lnTo>
                    <a:pt x="0" y="803"/>
                  </a:lnTo>
                  <a:lnTo>
                    <a:pt x="385" y="803"/>
                  </a:lnTo>
                  <a:lnTo>
                    <a:pt x="385" y="803"/>
                  </a:lnTo>
                  <a:lnTo>
                    <a:pt x="385" y="734"/>
                  </a:lnTo>
                  <a:lnTo>
                    <a:pt x="355" y="729"/>
                  </a:lnTo>
                  <a:lnTo>
                    <a:pt x="328" y="722"/>
                  </a:lnTo>
                  <a:lnTo>
                    <a:pt x="280" y="712"/>
                  </a:lnTo>
                  <a:lnTo>
                    <a:pt x="280" y="712"/>
                  </a:lnTo>
                  <a:lnTo>
                    <a:pt x="328" y="722"/>
                  </a:lnTo>
                  <a:lnTo>
                    <a:pt x="538" y="505"/>
                  </a:lnTo>
                  <a:lnTo>
                    <a:pt x="539" y="506"/>
                  </a:lnTo>
                  <a:lnTo>
                    <a:pt x="525" y="520"/>
                  </a:lnTo>
                  <a:lnTo>
                    <a:pt x="717" y="716"/>
                  </a:lnTo>
                  <a:lnTo>
                    <a:pt x="633" y="734"/>
                  </a:lnTo>
                  <a:lnTo>
                    <a:pt x="633" y="803"/>
                  </a:lnTo>
                  <a:lnTo>
                    <a:pt x="1033" y="803"/>
                  </a:lnTo>
                  <a:lnTo>
                    <a:pt x="1033" y="803"/>
                  </a:lnTo>
                  <a:lnTo>
                    <a:pt x="1033" y="734"/>
                  </a:lnTo>
                  <a:lnTo>
                    <a:pt x="1019" y="732"/>
                  </a:lnTo>
                  <a:close/>
                  <a:moveTo>
                    <a:pt x="136" y="91"/>
                  </a:moveTo>
                  <a:lnTo>
                    <a:pt x="136" y="91"/>
                  </a:lnTo>
                  <a:lnTo>
                    <a:pt x="211" y="169"/>
                  </a:lnTo>
                  <a:lnTo>
                    <a:pt x="136" y="91"/>
                  </a:lnTo>
                  <a:close/>
                  <a:moveTo>
                    <a:pt x="325" y="91"/>
                  </a:moveTo>
                  <a:lnTo>
                    <a:pt x="325" y="91"/>
                  </a:lnTo>
                  <a:lnTo>
                    <a:pt x="398" y="169"/>
                  </a:lnTo>
                  <a:lnTo>
                    <a:pt x="325" y="91"/>
                  </a:lnTo>
                  <a:close/>
                  <a:moveTo>
                    <a:pt x="631" y="409"/>
                  </a:moveTo>
                  <a:lnTo>
                    <a:pt x="639" y="401"/>
                  </a:lnTo>
                  <a:lnTo>
                    <a:pt x="639" y="402"/>
                  </a:lnTo>
                  <a:lnTo>
                    <a:pt x="631" y="410"/>
                  </a:lnTo>
                  <a:lnTo>
                    <a:pt x="631" y="40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19"/>
            <p:cNvSpPr>
              <a:spLocks/>
            </p:cNvSpPr>
            <p:nvPr userDrawn="1"/>
          </p:nvSpPr>
          <p:spPr bwMode="auto">
            <a:xfrm>
              <a:off x="6839" y="1252"/>
              <a:ext cx="225" cy="262"/>
            </a:xfrm>
            <a:custGeom>
              <a:avLst/>
              <a:gdLst>
                <a:gd name="T0" fmla="*/ 519 w 676"/>
                <a:gd name="T1" fmla="*/ 786 h 786"/>
                <a:gd name="T2" fmla="*/ 157 w 676"/>
                <a:gd name="T3" fmla="*/ 786 h 786"/>
                <a:gd name="T4" fmla="*/ 157 w 676"/>
                <a:gd name="T5" fmla="*/ 711 h 786"/>
                <a:gd name="T6" fmla="*/ 252 w 676"/>
                <a:gd name="T7" fmla="*/ 688 h 786"/>
                <a:gd name="T8" fmla="*/ 252 w 676"/>
                <a:gd name="T9" fmla="*/ 92 h 786"/>
                <a:gd name="T10" fmla="*/ 169 w 676"/>
                <a:gd name="T11" fmla="*/ 92 h 786"/>
                <a:gd name="T12" fmla="*/ 127 w 676"/>
                <a:gd name="T13" fmla="*/ 188 h 786"/>
                <a:gd name="T14" fmla="*/ 0 w 676"/>
                <a:gd name="T15" fmla="*/ 188 h 786"/>
                <a:gd name="T16" fmla="*/ 0 w 676"/>
                <a:gd name="T17" fmla="*/ 0 h 786"/>
                <a:gd name="T18" fmla="*/ 676 w 676"/>
                <a:gd name="T19" fmla="*/ 0 h 786"/>
                <a:gd name="T20" fmla="*/ 676 w 676"/>
                <a:gd name="T21" fmla="*/ 188 h 786"/>
                <a:gd name="T22" fmla="*/ 549 w 676"/>
                <a:gd name="T23" fmla="*/ 188 h 786"/>
                <a:gd name="T24" fmla="*/ 509 w 676"/>
                <a:gd name="T25" fmla="*/ 92 h 786"/>
                <a:gd name="T26" fmla="*/ 424 w 676"/>
                <a:gd name="T27" fmla="*/ 92 h 786"/>
                <a:gd name="T28" fmla="*/ 424 w 676"/>
                <a:gd name="T29" fmla="*/ 688 h 786"/>
                <a:gd name="T30" fmla="*/ 519 w 676"/>
                <a:gd name="T31" fmla="*/ 711 h 786"/>
                <a:gd name="T32" fmla="*/ 519 w 676"/>
                <a:gd name="T33" fmla="*/ 786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76" h="786">
                  <a:moveTo>
                    <a:pt x="519" y="786"/>
                  </a:moveTo>
                  <a:lnTo>
                    <a:pt x="157" y="786"/>
                  </a:lnTo>
                  <a:lnTo>
                    <a:pt x="157" y="711"/>
                  </a:lnTo>
                  <a:lnTo>
                    <a:pt x="252" y="688"/>
                  </a:lnTo>
                  <a:lnTo>
                    <a:pt x="252" y="92"/>
                  </a:lnTo>
                  <a:lnTo>
                    <a:pt x="169" y="92"/>
                  </a:lnTo>
                  <a:lnTo>
                    <a:pt x="127" y="188"/>
                  </a:lnTo>
                  <a:lnTo>
                    <a:pt x="0" y="188"/>
                  </a:lnTo>
                  <a:lnTo>
                    <a:pt x="0" y="0"/>
                  </a:lnTo>
                  <a:lnTo>
                    <a:pt x="676" y="0"/>
                  </a:lnTo>
                  <a:lnTo>
                    <a:pt x="676" y="188"/>
                  </a:lnTo>
                  <a:lnTo>
                    <a:pt x="549" y="188"/>
                  </a:lnTo>
                  <a:lnTo>
                    <a:pt x="509" y="92"/>
                  </a:lnTo>
                  <a:lnTo>
                    <a:pt x="424" y="92"/>
                  </a:lnTo>
                  <a:lnTo>
                    <a:pt x="424" y="688"/>
                  </a:lnTo>
                  <a:lnTo>
                    <a:pt x="519" y="711"/>
                  </a:lnTo>
                  <a:lnTo>
                    <a:pt x="519" y="78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0"/>
            <p:cNvSpPr>
              <a:spLocks/>
            </p:cNvSpPr>
            <p:nvPr userDrawn="1"/>
          </p:nvSpPr>
          <p:spPr bwMode="auto">
            <a:xfrm>
              <a:off x="6839" y="1252"/>
              <a:ext cx="225" cy="262"/>
            </a:xfrm>
            <a:custGeom>
              <a:avLst/>
              <a:gdLst>
                <a:gd name="T0" fmla="*/ 519 w 676"/>
                <a:gd name="T1" fmla="*/ 786 h 786"/>
                <a:gd name="T2" fmla="*/ 157 w 676"/>
                <a:gd name="T3" fmla="*/ 786 h 786"/>
                <a:gd name="T4" fmla="*/ 157 w 676"/>
                <a:gd name="T5" fmla="*/ 711 h 786"/>
                <a:gd name="T6" fmla="*/ 252 w 676"/>
                <a:gd name="T7" fmla="*/ 688 h 786"/>
                <a:gd name="T8" fmla="*/ 252 w 676"/>
                <a:gd name="T9" fmla="*/ 92 h 786"/>
                <a:gd name="T10" fmla="*/ 169 w 676"/>
                <a:gd name="T11" fmla="*/ 92 h 786"/>
                <a:gd name="T12" fmla="*/ 127 w 676"/>
                <a:gd name="T13" fmla="*/ 188 h 786"/>
                <a:gd name="T14" fmla="*/ 0 w 676"/>
                <a:gd name="T15" fmla="*/ 188 h 786"/>
                <a:gd name="T16" fmla="*/ 0 w 676"/>
                <a:gd name="T17" fmla="*/ 0 h 786"/>
                <a:gd name="T18" fmla="*/ 676 w 676"/>
                <a:gd name="T19" fmla="*/ 0 h 786"/>
                <a:gd name="T20" fmla="*/ 676 w 676"/>
                <a:gd name="T21" fmla="*/ 188 h 786"/>
                <a:gd name="T22" fmla="*/ 549 w 676"/>
                <a:gd name="T23" fmla="*/ 188 h 786"/>
                <a:gd name="T24" fmla="*/ 509 w 676"/>
                <a:gd name="T25" fmla="*/ 92 h 786"/>
                <a:gd name="T26" fmla="*/ 424 w 676"/>
                <a:gd name="T27" fmla="*/ 92 h 786"/>
                <a:gd name="T28" fmla="*/ 424 w 676"/>
                <a:gd name="T29" fmla="*/ 688 h 786"/>
                <a:gd name="T30" fmla="*/ 519 w 676"/>
                <a:gd name="T31" fmla="*/ 711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76" h="786">
                  <a:moveTo>
                    <a:pt x="519" y="786"/>
                  </a:moveTo>
                  <a:lnTo>
                    <a:pt x="157" y="786"/>
                  </a:lnTo>
                  <a:lnTo>
                    <a:pt x="157" y="711"/>
                  </a:lnTo>
                  <a:lnTo>
                    <a:pt x="252" y="688"/>
                  </a:lnTo>
                  <a:lnTo>
                    <a:pt x="252" y="92"/>
                  </a:lnTo>
                  <a:lnTo>
                    <a:pt x="169" y="92"/>
                  </a:lnTo>
                  <a:lnTo>
                    <a:pt x="127" y="188"/>
                  </a:lnTo>
                  <a:lnTo>
                    <a:pt x="0" y="188"/>
                  </a:lnTo>
                  <a:lnTo>
                    <a:pt x="0" y="0"/>
                  </a:lnTo>
                  <a:lnTo>
                    <a:pt x="676" y="0"/>
                  </a:lnTo>
                  <a:lnTo>
                    <a:pt x="676" y="188"/>
                  </a:lnTo>
                  <a:lnTo>
                    <a:pt x="549" y="188"/>
                  </a:lnTo>
                  <a:lnTo>
                    <a:pt x="509" y="92"/>
                  </a:lnTo>
                  <a:lnTo>
                    <a:pt x="424" y="92"/>
                  </a:lnTo>
                  <a:lnTo>
                    <a:pt x="424" y="688"/>
                  </a:lnTo>
                  <a:lnTo>
                    <a:pt x="519" y="711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1"/>
            <p:cNvSpPr>
              <a:spLocks/>
            </p:cNvSpPr>
            <p:nvPr userDrawn="1"/>
          </p:nvSpPr>
          <p:spPr bwMode="auto">
            <a:xfrm>
              <a:off x="6594" y="1252"/>
              <a:ext cx="195" cy="262"/>
            </a:xfrm>
            <a:custGeom>
              <a:avLst/>
              <a:gdLst>
                <a:gd name="T0" fmla="*/ 346 w 585"/>
                <a:gd name="T1" fmla="*/ 786 h 786"/>
                <a:gd name="T2" fmla="*/ 0 w 585"/>
                <a:gd name="T3" fmla="*/ 786 h 786"/>
                <a:gd name="T4" fmla="*/ 0 w 585"/>
                <a:gd name="T5" fmla="*/ 711 h 786"/>
                <a:gd name="T6" fmla="*/ 78 w 585"/>
                <a:gd name="T7" fmla="*/ 688 h 786"/>
                <a:gd name="T8" fmla="*/ 78 w 585"/>
                <a:gd name="T9" fmla="*/ 99 h 786"/>
                <a:gd name="T10" fmla="*/ 0 w 585"/>
                <a:gd name="T11" fmla="*/ 74 h 786"/>
                <a:gd name="T12" fmla="*/ 0 w 585"/>
                <a:gd name="T13" fmla="*/ 0 h 786"/>
                <a:gd name="T14" fmla="*/ 585 w 585"/>
                <a:gd name="T15" fmla="*/ 0 h 786"/>
                <a:gd name="T16" fmla="*/ 585 w 585"/>
                <a:gd name="T17" fmla="*/ 188 h 786"/>
                <a:gd name="T18" fmla="*/ 454 w 585"/>
                <a:gd name="T19" fmla="*/ 188 h 786"/>
                <a:gd name="T20" fmla="*/ 410 w 585"/>
                <a:gd name="T21" fmla="*/ 92 h 786"/>
                <a:gd name="T22" fmla="*/ 249 w 585"/>
                <a:gd name="T23" fmla="*/ 92 h 786"/>
                <a:gd name="T24" fmla="*/ 249 w 585"/>
                <a:gd name="T25" fmla="*/ 335 h 786"/>
                <a:gd name="T26" fmla="*/ 381 w 585"/>
                <a:gd name="T27" fmla="*/ 335 h 786"/>
                <a:gd name="T28" fmla="*/ 414 w 585"/>
                <a:gd name="T29" fmla="*/ 256 h 786"/>
                <a:gd name="T30" fmla="*/ 524 w 585"/>
                <a:gd name="T31" fmla="*/ 256 h 786"/>
                <a:gd name="T32" fmla="*/ 524 w 585"/>
                <a:gd name="T33" fmla="*/ 506 h 786"/>
                <a:gd name="T34" fmla="*/ 414 w 585"/>
                <a:gd name="T35" fmla="*/ 506 h 786"/>
                <a:gd name="T36" fmla="*/ 381 w 585"/>
                <a:gd name="T37" fmla="*/ 428 h 786"/>
                <a:gd name="T38" fmla="*/ 249 w 585"/>
                <a:gd name="T39" fmla="*/ 428 h 786"/>
                <a:gd name="T40" fmla="*/ 249 w 585"/>
                <a:gd name="T41" fmla="*/ 693 h 786"/>
                <a:gd name="T42" fmla="*/ 346 w 585"/>
                <a:gd name="T43" fmla="*/ 711 h 786"/>
                <a:gd name="T44" fmla="*/ 346 w 585"/>
                <a:gd name="T45" fmla="*/ 786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5" h="786">
                  <a:moveTo>
                    <a:pt x="346" y="786"/>
                  </a:moveTo>
                  <a:lnTo>
                    <a:pt x="0" y="786"/>
                  </a:lnTo>
                  <a:lnTo>
                    <a:pt x="0" y="711"/>
                  </a:lnTo>
                  <a:lnTo>
                    <a:pt x="78" y="688"/>
                  </a:lnTo>
                  <a:lnTo>
                    <a:pt x="78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585" y="0"/>
                  </a:lnTo>
                  <a:lnTo>
                    <a:pt x="585" y="188"/>
                  </a:lnTo>
                  <a:lnTo>
                    <a:pt x="454" y="188"/>
                  </a:lnTo>
                  <a:lnTo>
                    <a:pt x="410" y="92"/>
                  </a:lnTo>
                  <a:lnTo>
                    <a:pt x="249" y="92"/>
                  </a:lnTo>
                  <a:lnTo>
                    <a:pt x="249" y="335"/>
                  </a:lnTo>
                  <a:lnTo>
                    <a:pt x="381" y="335"/>
                  </a:lnTo>
                  <a:lnTo>
                    <a:pt x="414" y="256"/>
                  </a:lnTo>
                  <a:lnTo>
                    <a:pt x="524" y="256"/>
                  </a:lnTo>
                  <a:lnTo>
                    <a:pt x="524" y="506"/>
                  </a:lnTo>
                  <a:lnTo>
                    <a:pt x="414" y="506"/>
                  </a:lnTo>
                  <a:lnTo>
                    <a:pt x="381" y="428"/>
                  </a:lnTo>
                  <a:lnTo>
                    <a:pt x="249" y="428"/>
                  </a:lnTo>
                  <a:lnTo>
                    <a:pt x="249" y="693"/>
                  </a:lnTo>
                  <a:lnTo>
                    <a:pt x="346" y="711"/>
                  </a:lnTo>
                  <a:lnTo>
                    <a:pt x="346" y="78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2"/>
            <p:cNvSpPr>
              <a:spLocks/>
            </p:cNvSpPr>
            <p:nvPr userDrawn="1"/>
          </p:nvSpPr>
          <p:spPr bwMode="auto">
            <a:xfrm>
              <a:off x="6594" y="1252"/>
              <a:ext cx="195" cy="262"/>
            </a:xfrm>
            <a:custGeom>
              <a:avLst/>
              <a:gdLst>
                <a:gd name="T0" fmla="*/ 346 w 585"/>
                <a:gd name="T1" fmla="*/ 786 h 786"/>
                <a:gd name="T2" fmla="*/ 0 w 585"/>
                <a:gd name="T3" fmla="*/ 786 h 786"/>
                <a:gd name="T4" fmla="*/ 0 w 585"/>
                <a:gd name="T5" fmla="*/ 711 h 786"/>
                <a:gd name="T6" fmla="*/ 78 w 585"/>
                <a:gd name="T7" fmla="*/ 688 h 786"/>
                <a:gd name="T8" fmla="*/ 78 w 585"/>
                <a:gd name="T9" fmla="*/ 99 h 786"/>
                <a:gd name="T10" fmla="*/ 0 w 585"/>
                <a:gd name="T11" fmla="*/ 74 h 786"/>
                <a:gd name="T12" fmla="*/ 0 w 585"/>
                <a:gd name="T13" fmla="*/ 0 h 786"/>
                <a:gd name="T14" fmla="*/ 585 w 585"/>
                <a:gd name="T15" fmla="*/ 0 h 786"/>
                <a:gd name="T16" fmla="*/ 585 w 585"/>
                <a:gd name="T17" fmla="*/ 188 h 786"/>
                <a:gd name="T18" fmla="*/ 454 w 585"/>
                <a:gd name="T19" fmla="*/ 188 h 786"/>
                <a:gd name="T20" fmla="*/ 410 w 585"/>
                <a:gd name="T21" fmla="*/ 92 h 786"/>
                <a:gd name="T22" fmla="*/ 249 w 585"/>
                <a:gd name="T23" fmla="*/ 92 h 786"/>
                <a:gd name="T24" fmla="*/ 249 w 585"/>
                <a:gd name="T25" fmla="*/ 335 h 786"/>
                <a:gd name="T26" fmla="*/ 381 w 585"/>
                <a:gd name="T27" fmla="*/ 335 h 786"/>
                <a:gd name="T28" fmla="*/ 414 w 585"/>
                <a:gd name="T29" fmla="*/ 256 h 786"/>
                <a:gd name="T30" fmla="*/ 524 w 585"/>
                <a:gd name="T31" fmla="*/ 256 h 786"/>
                <a:gd name="T32" fmla="*/ 524 w 585"/>
                <a:gd name="T33" fmla="*/ 506 h 786"/>
                <a:gd name="T34" fmla="*/ 414 w 585"/>
                <a:gd name="T35" fmla="*/ 506 h 786"/>
                <a:gd name="T36" fmla="*/ 381 w 585"/>
                <a:gd name="T37" fmla="*/ 428 h 786"/>
                <a:gd name="T38" fmla="*/ 249 w 585"/>
                <a:gd name="T39" fmla="*/ 428 h 786"/>
                <a:gd name="T40" fmla="*/ 249 w 585"/>
                <a:gd name="T41" fmla="*/ 693 h 786"/>
                <a:gd name="T42" fmla="*/ 346 w 585"/>
                <a:gd name="T43" fmla="*/ 711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5" h="786">
                  <a:moveTo>
                    <a:pt x="346" y="786"/>
                  </a:moveTo>
                  <a:lnTo>
                    <a:pt x="0" y="786"/>
                  </a:lnTo>
                  <a:lnTo>
                    <a:pt x="0" y="711"/>
                  </a:lnTo>
                  <a:lnTo>
                    <a:pt x="78" y="688"/>
                  </a:lnTo>
                  <a:lnTo>
                    <a:pt x="78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585" y="0"/>
                  </a:lnTo>
                  <a:lnTo>
                    <a:pt x="585" y="188"/>
                  </a:lnTo>
                  <a:lnTo>
                    <a:pt x="454" y="188"/>
                  </a:lnTo>
                  <a:lnTo>
                    <a:pt x="410" y="92"/>
                  </a:lnTo>
                  <a:lnTo>
                    <a:pt x="249" y="92"/>
                  </a:lnTo>
                  <a:lnTo>
                    <a:pt x="249" y="335"/>
                  </a:lnTo>
                  <a:lnTo>
                    <a:pt x="381" y="335"/>
                  </a:lnTo>
                  <a:lnTo>
                    <a:pt x="414" y="256"/>
                  </a:lnTo>
                  <a:lnTo>
                    <a:pt x="524" y="256"/>
                  </a:lnTo>
                  <a:lnTo>
                    <a:pt x="524" y="506"/>
                  </a:lnTo>
                  <a:lnTo>
                    <a:pt x="414" y="506"/>
                  </a:lnTo>
                  <a:lnTo>
                    <a:pt x="381" y="428"/>
                  </a:lnTo>
                  <a:lnTo>
                    <a:pt x="249" y="428"/>
                  </a:lnTo>
                  <a:lnTo>
                    <a:pt x="249" y="693"/>
                  </a:lnTo>
                  <a:lnTo>
                    <a:pt x="346" y="711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23"/>
            <p:cNvSpPr>
              <a:spLocks noEditPoints="1"/>
            </p:cNvSpPr>
            <p:nvPr userDrawn="1"/>
          </p:nvSpPr>
          <p:spPr bwMode="auto">
            <a:xfrm>
              <a:off x="6300" y="1247"/>
              <a:ext cx="243" cy="272"/>
            </a:xfrm>
            <a:custGeom>
              <a:avLst/>
              <a:gdLst>
                <a:gd name="T0" fmla="*/ 407 w 729"/>
                <a:gd name="T1" fmla="*/ 709 h 817"/>
                <a:gd name="T2" fmla="*/ 476 w 729"/>
                <a:gd name="T3" fmla="*/ 672 h 817"/>
                <a:gd name="T4" fmla="*/ 513 w 729"/>
                <a:gd name="T5" fmla="*/ 617 h 817"/>
                <a:gd name="T6" fmla="*/ 540 w 729"/>
                <a:gd name="T7" fmla="*/ 512 h 817"/>
                <a:gd name="T8" fmla="*/ 546 w 729"/>
                <a:gd name="T9" fmla="*/ 408 h 817"/>
                <a:gd name="T10" fmla="*/ 535 w 729"/>
                <a:gd name="T11" fmla="*/ 276 h 817"/>
                <a:gd name="T12" fmla="*/ 501 w 729"/>
                <a:gd name="T13" fmla="*/ 180 h 817"/>
                <a:gd name="T14" fmla="*/ 459 w 729"/>
                <a:gd name="T15" fmla="*/ 132 h 817"/>
                <a:gd name="T16" fmla="*/ 385 w 729"/>
                <a:gd name="T17" fmla="*/ 103 h 817"/>
                <a:gd name="T18" fmla="*/ 322 w 729"/>
                <a:gd name="T19" fmla="*/ 107 h 817"/>
                <a:gd name="T20" fmla="*/ 256 w 729"/>
                <a:gd name="T21" fmla="*/ 146 h 817"/>
                <a:gd name="T22" fmla="*/ 219 w 729"/>
                <a:gd name="T23" fmla="*/ 202 h 817"/>
                <a:gd name="T24" fmla="*/ 191 w 729"/>
                <a:gd name="T25" fmla="*/ 306 h 817"/>
                <a:gd name="T26" fmla="*/ 184 w 729"/>
                <a:gd name="T27" fmla="*/ 408 h 817"/>
                <a:gd name="T28" fmla="*/ 195 w 729"/>
                <a:gd name="T29" fmla="*/ 542 h 817"/>
                <a:gd name="T30" fmla="*/ 230 w 729"/>
                <a:gd name="T31" fmla="*/ 636 h 817"/>
                <a:gd name="T32" fmla="*/ 270 w 729"/>
                <a:gd name="T33" fmla="*/ 684 h 817"/>
                <a:gd name="T34" fmla="*/ 343 w 729"/>
                <a:gd name="T35" fmla="*/ 713 h 817"/>
                <a:gd name="T36" fmla="*/ 344 w 729"/>
                <a:gd name="T37" fmla="*/ 817 h 817"/>
                <a:gd name="T38" fmla="*/ 266 w 729"/>
                <a:gd name="T39" fmla="*/ 806 h 817"/>
                <a:gd name="T40" fmla="*/ 196 w 729"/>
                <a:gd name="T41" fmla="*/ 784 h 817"/>
                <a:gd name="T42" fmla="*/ 136 w 729"/>
                <a:gd name="T43" fmla="*/ 748 h 817"/>
                <a:gd name="T44" fmla="*/ 98 w 729"/>
                <a:gd name="T45" fmla="*/ 713 h 817"/>
                <a:gd name="T46" fmla="*/ 55 w 729"/>
                <a:gd name="T47" fmla="*/ 656 h 817"/>
                <a:gd name="T48" fmla="*/ 24 w 729"/>
                <a:gd name="T49" fmla="*/ 590 h 817"/>
                <a:gd name="T50" fmla="*/ 5 w 729"/>
                <a:gd name="T51" fmla="*/ 513 h 817"/>
                <a:gd name="T52" fmla="*/ 0 w 729"/>
                <a:gd name="T53" fmla="*/ 428 h 817"/>
                <a:gd name="T54" fmla="*/ 3 w 729"/>
                <a:gd name="T55" fmla="*/ 356 h 817"/>
                <a:gd name="T56" fmla="*/ 20 w 729"/>
                <a:gd name="T57" fmla="*/ 272 h 817"/>
                <a:gd name="T58" fmla="*/ 48 w 729"/>
                <a:gd name="T59" fmla="*/ 196 h 817"/>
                <a:gd name="T60" fmla="*/ 90 w 729"/>
                <a:gd name="T61" fmla="*/ 131 h 817"/>
                <a:gd name="T62" fmla="*/ 130 w 729"/>
                <a:gd name="T63" fmla="*/ 89 h 817"/>
                <a:gd name="T64" fmla="*/ 190 w 729"/>
                <a:gd name="T65" fmla="*/ 45 h 817"/>
                <a:gd name="T66" fmla="*/ 258 w 729"/>
                <a:gd name="T67" fmla="*/ 17 h 817"/>
                <a:gd name="T68" fmla="*/ 335 w 729"/>
                <a:gd name="T69" fmla="*/ 1 h 817"/>
                <a:gd name="T70" fmla="*/ 397 w 729"/>
                <a:gd name="T71" fmla="*/ 0 h 817"/>
                <a:gd name="T72" fmla="*/ 471 w 729"/>
                <a:gd name="T73" fmla="*/ 10 h 817"/>
                <a:gd name="T74" fmla="*/ 538 w 729"/>
                <a:gd name="T75" fmla="*/ 33 h 817"/>
                <a:gd name="T76" fmla="*/ 596 w 729"/>
                <a:gd name="T77" fmla="*/ 68 h 817"/>
                <a:gd name="T78" fmla="*/ 634 w 729"/>
                <a:gd name="T79" fmla="*/ 105 h 817"/>
                <a:gd name="T80" fmla="*/ 676 w 729"/>
                <a:gd name="T81" fmla="*/ 162 h 817"/>
                <a:gd name="T82" fmla="*/ 706 w 729"/>
                <a:gd name="T83" fmla="*/ 228 h 817"/>
                <a:gd name="T84" fmla="*/ 724 w 729"/>
                <a:gd name="T85" fmla="*/ 303 h 817"/>
                <a:gd name="T86" fmla="*/ 729 w 729"/>
                <a:gd name="T87" fmla="*/ 387 h 817"/>
                <a:gd name="T88" fmla="*/ 724 w 729"/>
                <a:gd name="T89" fmla="*/ 481 h 817"/>
                <a:gd name="T90" fmla="*/ 704 w 729"/>
                <a:gd name="T91" fmla="*/ 564 h 817"/>
                <a:gd name="T92" fmla="*/ 673 w 729"/>
                <a:gd name="T93" fmla="*/ 638 h 817"/>
                <a:gd name="T94" fmla="*/ 631 w 729"/>
                <a:gd name="T95" fmla="*/ 700 h 817"/>
                <a:gd name="T96" fmla="*/ 592 w 729"/>
                <a:gd name="T97" fmla="*/ 740 h 817"/>
                <a:gd name="T98" fmla="*/ 531 w 729"/>
                <a:gd name="T99" fmla="*/ 780 h 817"/>
                <a:gd name="T100" fmla="*/ 462 w 729"/>
                <a:gd name="T101" fmla="*/ 805 h 817"/>
                <a:gd name="T102" fmla="*/ 385 w 729"/>
                <a:gd name="T103" fmla="*/ 81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9" h="817">
                  <a:moveTo>
                    <a:pt x="365" y="714"/>
                  </a:moveTo>
                  <a:lnTo>
                    <a:pt x="365" y="714"/>
                  </a:lnTo>
                  <a:lnTo>
                    <a:pt x="387" y="713"/>
                  </a:lnTo>
                  <a:lnTo>
                    <a:pt x="407" y="709"/>
                  </a:lnTo>
                  <a:lnTo>
                    <a:pt x="427" y="704"/>
                  </a:lnTo>
                  <a:lnTo>
                    <a:pt x="445" y="695"/>
                  </a:lnTo>
                  <a:lnTo>
                    <a:pt x="461" y="684"/>
                  </a:lnTo>
                  <a:lnTo>
                    <a:pt x="476" y="672"/>
                  </a:lnTo>
                  <a:lnTo>
                    <a:pt x="489" y="656"/>
                  </a:lnTo>
                  <a:lnTo>
                    <a:pt x="501" y="638"/>
                  </a:lnTo>
                  <a:lnTo>
                    <a:pt x="501" y="638"/>
                  </a:lnTo>
                  <a:lnTo>
                    <a:pt x="513" y="617"/>
                  </a:lnTo>
                  <a:lnTo>
                    <a:pt x="522" y="595"/>
                  </a:lnTo>
                  <a:lnTo>
                    <a:pt x="529" y="569"/>
                  </a:lnTo>
                  <a:lnTo>
                    <a:pt x="536" y="542"/>
                  </a:lnTo>
                  <a:lnTo>
                    <a:pt x="540" y="512"/>
                  </a:lnTo>
                  <a:lnTo>
                    <a:pt x="544" y="480"/>
                  </a:lnTo>
                  <a:lnTo>
                    <a:pt x="546" y="445"/>
                  </a:lnTo>
                  <a:lnTo>
                    <a:pt x="546" y="408"/>
                  </a:lnTo>
                  <a:lnTo>
                    <a:pt x="546" y="408"/>
                  </a:lnTo>
                  <a:lnTo>
                    <a:pt x="546" y="372"/>
                  </a:lnTo>
                  <a:lnTo>
                    <a:pt x="544" y="337"/>
                  </a:lnTo>
                  <a:lnTo>
                    <a:pt x="540" y="306"/>
                  </a:lnTo>
                  <a:lnTo>
                    <a:pt x="535" y="276"/>
                  </a:lnTo>
                  <a:lnTo>
                    <a:pt x="528" y="249"/>
                  </a:lnTo>
                  <a:lnTo>
                    <a:pt x="520" y="224"/>
                  </a:lnTo>
                  <a:lnTo>
                    <a:pt x="511" y="201"/>
                  </a:lnTo>
                  <a:lnTo>
                    <a:pt x="501" y="180"/>
                  </a:lnTo>
                  <a:lnTo>
                    <a:pt x="501" y="180"/>
                  </a:lnTo>
                  <a:lnTo>
                    <a:pt x="488" y="162"/>
                  </a:lnTo>
                  <a:lnTo>
                    <a:pt x="475" y="146"/>
                  </a:lnTo>
                  <a:lnTo>
                    <a:pt x="459" y="132"/>
                  </a:lnTo>
                  <a:lnTo>
                    <a:pt x="444" y="122"/>
                  </a:lnTo>
                  <a:lnTo>
                    <a:pt x="426" y="113"/>
                  </a:lnTo>
                  <a:lnTo>
                    <a:pt x="406" y="107"/>
                  </a:lnTo>
                  <a:lnTo>
                    <a:pt x="385" y="103"/>
                  </a:lnTo>
                  <a:lnTo>
                    <a:pt x="363" y="102"/>
                  </a:lnTo>
                  <a:lnTo>
                    <a:pt x="363" y="102"/>
                  </a:lnTo>
                  <a:lnTo>
                    <a:pt x="343" y="103"/>
                  </a:lnTo>
                  <a:lnTo>
                    <a:pt x="322" y="107"/>
                  </a:lnTo>
                  <a:lnTo>
                    <a:pt x="304" y="114"/>
                  </a:lnTo>
                  <a:lnTo>
                    <a:pt x="287" y="122"/>
                  </a:lnTo>
                  <a:lnTo>
                    <a:pt x="270" y="133"/>
                  </a:lnTo>
                  <a:lnTo>
                    <a:pt x="256" y="146"/>
                  </a:lnTo>
                  <a:lnTo>
                    <a:pt x="241" y="162"/>
                  </a:lnTo>
                  <a:lnTo>
                    <a:pt x="230" y="181"/>
                  </a:lnTo>
                  <a:lnTo>
                    <a:pt x="230" y="181"/>
                  </a:lnTo>
                  <a:lnTo>
                    <a:pt x="219" y="202"/>
                  </a:lnTo>
                  <a:lnTo>
                    <a:pt x="210" y="224"/>
                  </a:lnTo>
                  <a:lnTo>
                    <a:pt x="203" y="250"/>
                  </a:lnTo>
                  <a:lnTo>
                    <a:pt x="196" y="277"/>
                  </a:lnTo>
                  <a:lnTo>
                    <a:pt x="191" y="306"/>
                  </a:lnTo>
                  <a:lnTo>
                    <a:pt x="187" y="338"/>
                  </a:lnTo>
                  <a:lnTo>
                    <a:pt x="184" y="372"/>
                  </a:lnTo>
                  <a:lnTo>
                    <a:pt x="184" y="408"/>
                  </a:lnTo>
                  <a:lnTo>
                    <a:pt x="184" y="408"/>
                  </a:lnTo>
                  <a:lnTo>
                    <a:pt x="184" y="445"/>
                  </a:lnTo>
                  <a:lnTo>
                    <a:pt x="187" y="480"/>
                  </a:lnTo>
                  <a:lnTo>
                    <a:pt x="191" y="512"/>
                  </a:lnTo>
                  <a:lnTo>
                    <a:pt x="195" y="542"/>
                  </a:lnTo>
                  <a:lnTo>
                    <a:pt x="201" y="569"/>
                  </a:lnTo>
                  <a:lnTo>
                    <a:pt x="209" y="594"/>
                  </a:lnTo>
                  <a:lnTo>
                    <a:pt x="219" y="617"/>
                  </a:lnTo>
                  <a:lnTo>
                    <a:pt x="230" y="636"/>
                  </a:lnTo>
                  <a:lnTo>
                    <a:pt x="230" y="636"/>
                  </a:lnTo>
                  <a:lnTo>
                    <a:pt x="241" y="655"/>
                  </a:lnTo>
                  <a:lnTo>
                    <a:pt x="256" y="672"/>
                  </a:lnTo>
                  <a:lnTo>
                    <a:pt x="270" y="684"/>
                  </a:lnTo>
                  <a:lnTo>
                    <a:pt x="287" y="695"/>
                  </a:lnTo>
                  <a:lnTo>
                    <a:pt x="304" y="704"/>
                  </a:lnTo>
                  <a:lnTo>
                    <a:pt x="323" y="709"/>
                  </a:lnTo>
                  <a:lnTo>
                    <a:pt x="343" y="713"/>
                  </a:lnTo>
                  <a:lnTo>
                    <a:pt x="365" y="714"/>
                  </a:lnTo>
                  <a:close/>
                  <a:moveTo>
                    <a:pt x="365" y="817"/>
                  </a:moveTo>
                  <a:lnTo>
                    <a:pt x="365" y="817"/>
                  </a:lnTo>
                  <a:lnTo>
                    <a:pt x="344" y="817"/>
                  </a:lnTo>
                  <a:lnTo>
                    <a:pt x="323" y="815"/>
                  </a:lnTo>
                  <a:lnTo>
                    <a:pt x="304" y="813"/>
                  </a:lnTo>
                  <a:lnTo>
                    <a:pt x="284" y="810"/>
                  </a:lnTo>
                  <a:lnTo>
                    <a:pt x="266" y="806"/>
                  </a:lnTo>
                  <a:lnTo>
                    <a:pt x="248" y="802"/>
                  </a:lnTo>
                  <a:lnTo>
                    <a:pt x="230" y="797"/>
                  </a:lnTo>
                  <a:lnTo>
                    <a:pt x="213" y="791"/>
                  </a:lnTo>
                  <a:lnTo>
                    <a:pt x="196" y="784"/>
                  </a:lnTo>
                  <a:lnTo>
                    <a:pt x="181" y="777"/>
                  </a:lnTo>
                  <a:lnTo>
                    <a:pt x="165" y="767"/>
                  </a:lnTo>
                  <a:lnTo>
                    <a:pt x="151" y="758"/>
                  </a:lnTo>
                  <a:lnTo>
                    <a:pt x="136" y="748"/>
                  </a:lnTo>
                  <a:lnTo>
                    <a:pt x="122" y="738"/>
                  </a:lnTo>
                  <a:lnTo>
                    <a:pt x="109" y="726"/>
                  </a:lnTo>
                  <a:lnTo>
                    <a:pt x="98" y="713"/>
                  </a:lnTo>
                  <a:lnTo>
                    <a:pt x="98" y="713"/>
                  </a:lnTo>
                  <a:lnTo>
                    <a:pt x="86" y="700"/>
                  </a:lnTo>
                  <a:lnTo>
                    <a:pt x="74" y="686"/>
                  </a:lnTo>
                  <a:lnTo>
                    <a:pt x="64" y="672"/>
                  </a:lnTo>
                  <a:lnTo>
                    <a:pt x="55" y="656"/>
                  </a:lnTo>
                  <a:lnTo>
                    <a:pt x="46" y="640"/>
                  </a:lnTo>
                  <a:lnTo>
                    <a:pt x="38" y="625"/>
                  </a:lnTo>
                  <a:lnTo>
                    <a:pt x="30" y="607"/>
                  </a:lnTo>
                  <a:lnTo>
                    <a:pt x="24" y="590"/>
                  </a:lnTo>
                  <a:lnTo>
                    <a:pt x="18" y="572"/>
                  </a:lnTo>
                  <a:lnTo>
                    <a:pt x="13" y="553"/>
                  </a:lnTo>
                  <a:lnTo>
                    <a:pt x="9" y="534"/>
                  </a:lnTo>
                  <a:lnTo>
                    <a:pt x="5" y="513"/>
                  </a:lnTo>
                  <a:lnTo>
                    <a:pt x="3" y="493"/>
                  </a:lnTo>
                  <a:lnTo>
                    <a:pt x="2" y="472"/>
                  </a:lnTo>
                  <a:lnTo>
                    <a:pt x="0" y="450"/>
                  </a:lnTo>
                  <a:lnTo>
                    <a:pt x="0" y="428"/>
                  </a:lnTo>
                  <a:lnTo>
                    <a:pt x="0" y="428"/>
                  </a:lnTo>
                  <a:lnTo>
                    <a:pt x="0" y="403"/>
                  </a:lnTo>
                  <a:lnTo>
                    <a:pt x="2" y="380"/>
                  </a:lnTo>
                  <a:lnTo>
                    <a:pt x="3" y="356"/>
                  </a:lnTo>
                  <a:lnTo>
                    <a:pt x="7" y="334"/>
                  </a:lnTo>
                  <a:lnTo>
                    <a:pt x="9" y="314"/>
                  </a:lnTo>
                  <a:lnTo>
                    <a:pt x="15" y="292"/>
                  </a:lnTo>
                  <a:lnTo>
                    <a:pt x="20" y="272"/>
                  </a:lnTo>
                  <a:lnTo>
                    <a:pt x="25" y="251"/>
                  </a:lnTo>
                  <a:lnTo>
                    <a:pt x="33" y="233"/>
                  </a:lnTo>
                  <a:lnTo>
                    <a:pt x="40" y="214"/>
                  </a:lnTo>
                  <a:lnTo>
                    <a:pt x="48" y="196"/>
                  </a:lnTo>
                  <a:lnTo>
                    <a:pt x="57" y="179"/>
                  </a:lnTo>
                  <a:lnTo>
                    <a:pt x="68" y="162"/>
                  </a:lnTo>
                  <a:lnTo>
                    <a:pt x="78" y="146"/>
                  </a:lnTo>
                  <a:lnTo>
                    <a:pt x="90" y="131"/>
                  </a:lnTo>
                  <a:lnTo>
                    <a:pt x="103" y="116"/>
                  </a:lnTo>
                  <a:lnTo>
                    <a:pt x="103" y="116"/>
                  </a:lnTo>
                  <a:lnTo>
                    <a:pt x="116" y="102"/>
                  </a:lnTo>
                  <a:lnTo>
                    <a:pt x="130" y="89"/>
                  </a:lnTo>
                  <a:lnTo>
                    <a:pt x="144" y="76"/>
                  </a:lnTo>
                  <a:lnTo>
                    <a:pt x="159" y="65"/>
                  </a:lnTo>
                  <a:lnTo>
                    <a:pt x="174" y="54"/>
                  </a:lnTo>
                  <a:lnTo>
                    <a:pt x="190" y="45"/>
                  </a:lnTo>
                  <a:lnTo>
                    <a:pt x="206" y="36"/>
                  </a:lnTo>
                  <a:lnTo>
                    <a:pt x="223" y="28"/>
                  </a:lnTo>
                  <a:lnTo>
                    <a:pt x="240" y="22"/>
                  </a:lnTo>
                  <a:lnTo>
                    <a:pt x="258" y="17"/>
                  </a:lnTo>
                  <a:lnTo>
                    <a:pt x="277" y="11"/>
                  </a:lnTo>
                  <a:lnTo>
                    <a:pt x="296" y="8"/>
                  </a:lnTo>
                  <a:lnTo>
                    <a:pt x="315" y="4"/>
                  </a:lnTo>
                  <a:lnTo>
                    <a:pt x="335" y="1"/>
                  </a:lnTo>
                  <a:lnTo>
                    <a:pt x="356" y="0"/>
                  </a:lnTo>
                  <a:lnTo>
                    <a:pt x="378" y="0"/>
                  </a:lnTo>
                  <a:lnTo>
                    <a:pt x="378" y="0"/>
                  </a:lnTo>
                  <a:lnTo>
                    <a:pt x="397" y="0"/>
                  </a:lnTo>
                  <a:lnTo>
                    <a:pt x="417" y="1"/>
                  </a:lnTo>
                  <a:lnTo>
                    <a:pt x="435" y="4"/>
                  </a:lnTo>
                  <a:lnTo>
                    <a:pt x="454" y="6"/>
                  </a:lnTo>
                  <a:lnTo>
                    <a:pt x="471" y="10"/>
                  </a:lnTo>
                  <a:lnTo>
                    <a:pt x="489" y="14"/>
                  </a:lnTo>
                  <a:lnTo>
                    <a:pt x="506" y="19"/>
                  </a:lnTo>
                  <a:lnTo>
                    <a:pt x="522" y="26"/>
                  </a:lnTo>
                  <a:lnTo>
                    <a:pt x="538" y="33"/>
                  </a:lnTo>
                  <a:lnTo>
                    <a:pt x="553" y="41"/>
                  </a:lnTo>
                  <a:lnTo>
                    <a:pt x="568" y="49"/>
                  </a:lnTo>
                  <a:lnTo>
                    <a:pt x="583" y="59"/>
                  </a:lnTo>
                  <a:lnTo>
                    <a:pt x="596" y="68"/>
                  </a:lnTo>
                  <a:lnTo>
                    <a:pt x="608" y="80"/>
                  </a:lnTo>
                  <a:lnTo>
                    <a:pt x="621" y="92"/>
                  </a:lnTo>
                  <a:lnTo>
                    <a:pt x="634" y="105"/>
                  </a:lnTo>
                  <a:lnTo>
                    <a:pt x="634" y="105"/>
                  </a:lnTo>
                  <a:lnTo>
                    <a:pt x="646" y="118"/>
                  </a:lnTo>
                  <a:lnTo>
                    <a:pt x="656" y="132"/>
                  </a:lnTo>
                  <a:lnTo>
                    <a:pt x="667" y="146"/>
                  </a:lnTo>
                  <a:lnTo>
                    <a:pt x="676" y="162"/>
                  </a:lnTo>
                  <a:lnTo>
                    <a:pt x="685" y="177"/>
                  </a:lnTo>
                  <a:lnTo>
                    <a:pt x="693" y="194"/>
                  </a:lnTo>
                  <a:lnTo>
                    <a:pt x="699" y="211"/>
                  </a:lnTo>
                  <a:lnTo>
                    <a:pt x="706" y="228"/>
                  </a:lnTo>
                  <a:lnTo>
                    <a:pt x="711" y="246"/>
                  </a:lnTo>
                  <a:lnTo>
                    <a:pt x="716" y="264"/>
                  </a:lnTo>
                  <a:lnTo>
                    <a:pt x="720" y="284"/>
                  </a:lnTo>
                  <a:lnTo>
                    <a:pt x="724" y="303"/>
                  </a:lnTo>
                  <a:lnTo>
                    <a:pt x="726" y="324"/>
                  </a:lnTo>
                  <a:lnTo>
                    <a:pt x="728" y="345"/>
                  </a:lnTo>
                  <a:lnTo>
                    <a:pt x="729" y="387"/>
                  </a:lnTo>
                  <a:lnTo>
                    <a:pt x="729" y="387"/>
                  </a:lnTo>
                  <a:lnTo>
                    <a:pt x="729" y="412"/>
                  </a:lnTo>
                  <a:lnTo>
                    <a:pt x="728" y="435"/>
                  </a:lnTo>
                  <a:lnTo>
                    <a:pt x="726" y="459"/>
                  </a:lnTo>
                  <a:lnTo>
                    <a:pt x="724" y="481"/>
                  </a:lnTo>
                  <a:lnTo>
                    <a:pt x="720" y="503"/>
                  </a:lnTo>
                  <a:lnTo>
                    <a:pt x="716" y="524"/>
                  </a:lnTo>
                  <a:lnTo>
                    <a:pt x="711" y="544"/>
                  </a:lnTo>
                  <a:lnTo>
                    <a:pt x="704" y="564"/>
                  </a:lnTo>
                  <a:lnTo>
                    <a:pt x="698" y="583"/>
                  </a:lnTo>
                  <a:lnTo>
                    <a:pt x="691" y="601"/>
                  </a:lnTo>
                  <a:lnTo>
                    <a:pt x="682" y="620"/>
                  </a:lnTo>
                  <a:lnTo>
                    <a:pt x="673" y="638"/>
                  </a:lnTo>
                  <a:lnTo>
                    <a:pt x="664" y="653"/>
                  </a:lnTo>
                  <a:lnTo>
                    <a:pt x="654" y="670"/>
                  </a:lnTo>
                  <a:lnTo>
                    <a:pt x="642" y="686"/>
                  </a:lnTo>
                  <a:lnTo>
                    <a:pt x="631" y="700"/>
                  </a:lnTo>
                  <a:lnTo>
                    <a:pt x="631" y="700"/>
                  </a:lnTo>
                  <a:lnTo>
                    <a:pt x="618" y="714"/>
                  </a:lnTo>
                  <a:lnTo>
                    <a:pt x="605" y="727"/>
                  </a:lnTo>
                  <a:lnTo>
                    <a:pt x="592" y="740"/>
                  </a:lnTo>
                  <a:lnTo>
                    <a:pt x="577" y="752"/>
                  </a:lnTo>
                  <a:lnTo>
                    <a:pt x="562" y="762"/>
                  </a:lnTo>
                  <a:lnTo>
                    <a:pt x="546" y="771"/>
                  </a:lnTo>
                  <a:lnTo>
                    <a:pt x="531" y="780"/>
                  </a:lnTo>
                  <a:lnTo>
                    <a:pt x="515" y="788"/>
                  </a:lnTo>
                  <a:lnTo>
                    <a:pt x="498" y="795"/>
                  </a:lnTo>
                  <a:lnTo>
                    <a:pt x="480" y="800"/>
                  </a:lnTo>
                  <a:lnTo>
                    <a:pt x="462" y="805"/>
                  </a:lnTo>
                  <a:lnTo>
                    <a:pt x="444" y="809"/>
                  </a:lnTo>
                  <a:lnTo>
                    <a:pt x="426" y="813"/>
                  </a:lnTo>
                  <a:lnTo>
                    <a:pt x="406" y="815"/>
                  </a:lnTo>
                  <a:lnTo>
                    <a:pt x="385" y="817"/>
                  </a:lnTo>
                  <a:lnTo>
                    <a:pt x="365" y="81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24"/>
            <p:cNvSpPr>
              <a:spLocks/>
            </p:cNvSpPr>
            <p:nvPr userDrawn="1"/>
          </p:nvSpPr>
          <p:spPr bwMode="auto">
            <a:xfrm>
              <a:off x="6361" y="1281"/>
              <a:ext cx="121" cy="204"/>
            </a:xfrm>
            <a:custGeom>
              <a:avLst/>
              <a:gdLst>
                <a:gd name="T0" fmla="*/ 181 w 362"/>
                <a:gd name="T1" fmla="*/ 612 h 612"/>
                <a:gd name="T2" fmla="*/ 223 w 362"/>
                <a:gd name="T3" fmla="*/ 607 h 612"/>
                <a:gd name="T4" fmla="*/ 261 w 362"/>
                <a:gd name="T5" fmla="*/ 593 h 612"/>
                <a:gd name="T6" fmla="*/ 292 w 362"/>
                <a:gd name="T7" fmla="*/ 570 h 612"/>
                <a:gd name="T8" fmla="*/ 317 w 362"/>
                <a:gd name="T9" fmla="*/ 536 h 612"/>
                <a:gd name="T10" fmla="*/ 329 w 362"/>
                <a:gd name="T11" fmla="*/ 515 h 612"/>
                <a:gd name="T12" fmla="*/ 345 w 362"/>
                <a:gd name="T13" fmla="*/ 467 h 612"/>
                <a:gd name="T14" fmla="*/ 356 w 362"/>
                <a:gd name="T15" fmla="*/ 410 h 612"/>
                <a:gd name="T16" fmla="*/ 362 w 362"/>
                <a:gd name="T17" fmla="*/ 343 h 612"/>
                <a:gd name="T18" fmla="*/ 362 w 362"/>
                <a:gd name="T19" fmla="*/ 306 h 612"/>
                <a:gd name="T20" fmla="*/ 360 w 362"/>
                <a:gd name="T21" fmla="*/ 235 h 612"/>
                <a:gd name="T22" fmla="*/ 351 w 362"/>
                <a:gd name="T23" fmla="*/ 174 h 612"/>
                <a:gd name="T24" fmla="*/ 336 w 362"/>
                <a:gd name="T25" fmla="*/ 122 h 612"/>
                <a:gd name="T26" fmla="*/ 317 w 362"/>
                <a:gd name="T27" fmla="*/ 78 h 612"/>
                <a:gd name="T28" fmla="*/ 304 w 362"/>
                <a:gd name="T29" fmla="*/ 60 h 612"/>
                <a:gd name="T30" fmla="*/ 275 w 362"/>
                <a:gd name="T31" fmla="*/ 30 h 612"/>
                <a:gd name="T32" fmla="*/ 242 w 362"/>
                <a:gd name="T33" fmla="*/ 11 h 612"/>
                <a:gd name="T34" fmla="*/ 201 w 362"/>
                <a:gd name="T35" fmla="*/ 1 h 612"/>
                <a:gd name="T36" fmla="*/ 179 w 362"/>
                <a:gd name="T37" fmla="*/ 0 h 612"/>
                <a:gd name="T38" fmla="*/ 138 w 362"/>
                <a:gd name="T39" fmla="*/ 5 h 612"/>
                <a:gd name="T40" fmla="*/ 103 w 362"/>
                <a:gd name="T41" fmla="*/ 20 h 612"/>
                <a:gd name="T42" fmla="*/ 72 w 362"/>
                <a:gd name="T43" fmla="*/ 44 h 612"/>
                <a:gd name="T44" fmla="*/ 46 w 362"/>
                <a:gd name="T45" fmla="*/ 79 h 612"/>
                <a:gd name="T46" fmla="*/ 35 w 362"/>
                <a:gd name="T47" fmla="*/ 100 h 612"/>
                <a:gd name="T48" fmla="*/ 19 w 362"/>
                <a:gd name="T49" fmla="*/ 148 h 612"/>
                <a:gd name="T50" fmla="*/ 7 w 362"/>
                <a:gd name="T51" fmla="*/ 204 h 612"/>
                <a:gd name="T52" fmla="*/ 0 w 362"/>
                <a:gd name="T53" fmla="*/ 270 h 612"/>
                <a:gd name="T54" fmla="*/ 0 w 362"/>
                <a:gd name="T55" fmla="*/ 306 h 612"/>
                <a:gd name="T56" fmla="*/ 3 w 362"/>
                <a:gd name="T57" fmla="*/ 378 h 612"/>
                <a:gd name="T58" fmla="*/ 11 w 362"/>
                <a:gd name="T59" fmla="*/ 440 h 612"/>
                <a:gd name="T60" fmla="*/ 25 w 362"/>
                <a:gd name="T61" fmla="*/ 492 h 612"/>
                <a:gd name="T62" fmla="*/ 46 w 362"/>
                <a:gd name="T63" fmla="*/ 534 h 612"/>
                <a:gd name="T64" fmla="*/ 57 w 362"/>
                <a:gd name="T65" fmla="*/ 553 h 612"/>
                <a:gd name="T66" fmla="*/ 86 w 362"/>
                <a:gd name="T67" fmla="*/ 582 h 612"/>
                <a:gd name="T68" fmla="*/ 120 w 362"/>
                <a:gd name="T69" fmla="*/ 602 h 612"/>
                <a:gd name="T70" fmla="*/ 159 w 362"/>
                <a:gd name="T71" fmla="*/ 611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2" h="612">
                  <a:moveTo>
                    <a:pt x="181" y="612"/>
                  </a:moveTo>
                  <a:lnTo>
                    <a:pt x="181" y="612"/>
                  </a:lnTo>
                  <a:lnTo>
                    <a:pt x="203" y="611"/>
                  </a:lnTo>
                  <a:lnTo>
                    <a:pt x="223" y="607"/>
                  </a:lnTo>
                  <a:lnTo>
                    <a:pt x="243" y="602"/>
                  </a:lnTo>
                  <a:lnTo>
                    <a:pt x="261" y="593"/>
                  </a:lnTo>
                  <a:lnTo>
                    <a:pt x="277" y="582"/>
                  </a:lnTo>
                  <a:lnTo>
                    <a:pt x="292" y="570"/>
                  </a:lnTo>
                  <a:lnTo>
                    <a:pt x="305" y="554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29" y="515"/>
                  </a:lnTo>
                  <a:lnTo>
                    <a:pt x="338" y="493"/>
                  </a:lnTo>
                  <a:lnTo>
                    <a:pt x="345" y="467"/>
                  </a:lnTo>
                  <a:lnTo>
                    <a:pt x="352" y="440"/>
                  </a:lnTo>
                  <a:lnTo>
                    <a:pt x="356" y="410"/>
                  </a:lnTo>
                  <a:lnTo>
                    <a:pt x="360" y="378"/>
                  </a:lnTo>
                  <a:lnTo>
                    <a:pt x="362" y="343"/>
                  </a:lnTo>
                  <a:lnTo>
                    <a:pt x="362" y="306"/>
                  </a:lnTo>
                  <a:lnTo>
                    <a:pt x="362" y="306"/>
                  </a:lnTo>
                  <a:lnTo>
                    <a:pt x="362" y="270"/>
                  </a:lnTo>
                  <a:lnTo>
                    <a:pt x="360" y="235"/>
                  </a:lnTo>
                  <a:lnTo>
                    <a:pt x="356" y="204"/>
                  </a:lnTo>
                  <a:lnTo>
                    <a:pt x="351" y="174"/>
                  </a:lnTo>
                  <a:lnTo>
                    <a:pt x="344" y="147"/>
                  </a:lnTo>
                  <a:lnTo>
                    <a:pt x="336" y="122"/>
                  </a:lnTo>
                  <a:lnTo>
                    <a:pt x="327" y="99"/>
                  </a:lnTo>
                  <a:lnTo>
                    <a:pt x="317" y="78"/>
                  </a:lnTo>
                  <a:lnTo>
                    <a:pt x="317" y="78"/>
                  </a:lnTo>
                  <a:lnTo>
                    <a:pt x="304" y="60"/>
                  </a:lnTo>
                  <a:lnTo>
                    <a:pt x="291" y="44"/>
                  </a:lnTo>
                  <a:lnTo>
                    <a:pt x="275" y="30"/>
                  </a:lnTo>
                  <a:lnTo>
                    <a:pt x="260" y="20"/>
                  </a:lnTo>
                  <a:lnTo>
                    <a:pt x="242" y="11"/>
                  </a:lnTo>
                  <a:lnTo>
                    <a:pt x="222" y="5"/>
                  </a:lnTo>
                  <a:lnTo>
                    <a:pt x="201" y="1"/>
                  </a:lnTo>
                  <a:lnTo>
                    <a:pt x="179" y="0"/>
                  </a:lnTo>
                  <a:lnTo>
                    <a:pt x="179" y="0"/>
                  </a:lnTo>
                  <a:lnTo>
                    <a:pt x="159" y="1"/>
                  </a:lnTo>
                  <a:lnTo>
                    <a:pt x="138" y="5"/>
                  </a:lnTo>
                  <a:lnTo>
                    <a:pt x="120" y="12"/>
                  </a:lnTo>
                  <a:lnTo>
                    <a:pt x="103" y="20"/>
                  </a:lnTo>
                  <a:lnTo>
                    <a:pt x="86" y="31"/>
                  </a:lnTo>
                  <a:lnTo>
                    <a:pt x="72" y="44"/>
                  </a:lnTo>
                  <a:lnTo>
                    <a:pt x="57" y="60"/>
                  </a:lnTo>
                  <a:lnTo>
                    <a:pt x="46" y="79"/>
                  </a:lnTo>
                  <a:lnTo>
                    <a:pt x="46" y="79"/>
                  </a:lnTo>
                  <a:lnTo>
                    <a:pt x="35" y="100"/>
                  </a:lnTo>
                  <a:lnTo>
                    <a:pt x="26" y="122"/>
                  </a:lnTo>
                  <a:lnTo>
                    <a:pt x="19" y="148"/>
                  </a:lnTo>
                  <a:lnTo>
                    <a:pt x="12" y="175"/>
                  </a:lnTo>
                  <a:lnTo>
                    <a:pt x="7" y="204"/>
                  </a:lnTo>
                  <a:lnTo>
                    <a:pt x="3" y="236"/>
                  </a:lnTo>
                  <a:lnTo>
                    <a:pt x="0" y="270"/>
                  </a:lnTo>
                  <a:lnTo>
                    <a:pt x="0" y="306"/>
                  </a:lnTo>
                  <a:lnTo>
                    <a:pt x="0" y="306"/>
                  </a:lnTo>
                  <a:lnTo>
                    <a:pt x="0" y="343"/>
                  </a:lnTo>
                  <a:lnTo>
                    <a:pt x="3" y="378"/>
                  </a:lnTo>
                  <a:lnTo>
                    <a:pt x="7" y="410"/>
                  </a:lnTo>
                  <a:lnTo>
                    <a:pt x="11" y="440"/>
                  </a:lnTo>
                  <a:lnTo>
                    <a:pt x="17" y="467"/>
                  </a:lnTo>
                  <a:lnTo>
                    <a:pt x="25" y="492"/>
                  </a:lnTo>
                  <a:lnTo>
                    <a:pt x="35" y="515"/>
                  </a:lnTo>
                  <a:lnTo>
                    <a:pt x="46" y="534"/>
                  </a:lnTo>
                  <a:lnTo>
                    <a:pt x="46" y="534"/>
                  </a:lnTo>
                  <a:lnTo>
                    <a:pt x="57" y="553"/>
                  </a:lnTo>
                  <a:lnTo>
                    <a:pt x="72" y="570"/>
                  </a:lnTo>
                  <a:lnTo>
                    <a:pt x="86" y="582"/>
                  </a:lnTo>
                  <a:lnTo>
                    <a:pt x="103" y="593"/>
                  </a:lnTo>
                  <a:lnTo>
                    <a:pt x="120" y="602"/>
                  </a:lnTo>
                  <a:lnTo>
                    <a:pt x="139" y="607"/>
                  </a:lnTo>
                  <a:lnTo>
                    <a:pt x="159" y="611"/>
                  </a:lnTo>
                  <a:lnTo>
                    <a:pt x="181" y="612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25"/>
            <p:cNvSpPr>
              <a:spLocks/>
            </p:cNvSpPr>
            <p:nvPr userDrawn="1"/>
          </p:nvSpPr>
          <p:spPr bwMode="auto">
            <a:xfrm>
              <a:off x="6300" y="1247"/>
              <a:ext cx="243" cy="272"/>
            </a:xfrm>
            <a:custGeom>
              <a:avLst/>
              <a:gdLst>
                <a:gd name="T0" fmla="*/ 344 w 729"/>
                <a:gd name="T1" fmla="*/ 817 h 817"/>
                <a:gd name="T2" fmla="*/ 284 w 729"/>
                <a:gd name="T3" fmla="*/ 810 h 817"/>
                <a:gd name="T4" fmla="*/ 230 w 729"/>
                <a:gd name="T5" fmla="*/ 797 h 817"/>
                <a:gd name="T6" fmla="*/ 181 w 729"/>
                <a:gd name="T7" fmla="*/ 777 h 817"/>
                <a:gd name="T8" fmla="*/ 136 w 729"/>
                <a:gd name="T9" fmla="*/ 748 h 817"/>
                <a:gd name="T10" fmla="*/ 98 w 729"/>
                <a:gd name="T11" fmla="*/ 713 h 817"/>
                <a:gd name="T12" fmla="*/ 74 w 729"/>
                <a:gd name="T13" fmla="*/ 686 h 817"/>
                <a:gd name="T14" fmla="*/ 46 w 729"/>
                <a:gd name="T15" fmla="*/ 640 h 817"/>
                <a:gd name="T16" fmla="*/ 24 w 729"/>
                <a:gd name="T17" fmla="*/ 590 h 817"/>
                <a:gd name="T18" fmla="*/ 9 w 729"/>
                <a:gd name="T19" fmla="*/ 534 h 817"/>
                <a:gd name="T20" fmla="*/ 2 w 729"/>
                <a:gd name="T21" fmla="*/ 472 h 817"/>
                <a:gd name="T22" fmla="*/ 0 w 729"/>
                <a:gd name="T23" fmla="*/ 428 h 817"/>
                <a:gd name="T24" fmla="*/ 3 w 729"/>
                <a:gd name="T25" fmla="*/ 356 h 817"/>
                <a:gd name="T26" fmla="*/ 15 w 729"/>
                <a:gd name="T27" fmla="*/ 292 h 817"/>
                <a:gd name="T28" fmla="*/ 33 w 729"/>
                <a:gd name="T29" fmla="*/ 233 h 817"/>
                <a:gd name="T30" fmla="*/ 57 w 729"/>
                <a:gd name="T31" fmla="*/ 179 h 817"/>
                <a:gd name="T32" fmla="*/ 90 w 729"/>
                <a:gd name="T33" fmla="*/ 131 h 817"/>
                <a:gd name="T34" fmla="*/ 116 w 729"/>
                <a:gd name="T35" fmla="*/ 102 h 817"/>
                <a:gd name="T36" fmla="*/ 159 w 729"/>
                <a:gd name="T37" fmla="*/ 65 h 817"/>
                <a:gd name="T38" fmla="*/ 206 w 729"/>
                <a:gd name="T39" fmla="*/ 36 h 817"/>
                <a:gd name="T40" fmla="*/ 258 w 729"/>
                <a:gd name="T41" fmla="*/ 17 h 817"/>
                <a:gd name="T42" fmla="*/ 315 w 729"/>
                <a:gd name="T43" fmla="*/ 4 h 817"/>
                <a:gd name="T44" fmla="*/ 378 w 729"/>
                <a:gd name="T45" fmla="*/ 0 h 817"/>
                <a:gd name="T46" fmla="*/ 417 w 729"/>
                <a:gd name="T47" fmla="*/ 1 h 817"/>
                <a:gd name="T48" fmla="*/ 471 w 729"/>
                <a:gd name="T49" fmla="*/ 10 h 817"/>
                <a:gd name="T50" fmla="*/ 522 w 729"/>
                <a:gd name="T51" fmla="*/ 26 h 817"/>
                <a:gd name="T52" fmla="*/ 568 w 729"/>
                <a:gd name="T53" fmla="*/ 49 h 817"/>
                <a:gd name="T54" fmla="*/ 608 w 729"/>
                <a:gd name="T55" fmla="*/ 80 h 817"/>
                <a:gd name="T56" fmla="*/ 634 w 729"/>
                <a:gd name="T57" fmla="*/ 105 h 817"/>
                <a:gd name="T58" fmla="*/ 667 w 729"/>
                <a:gd name="T59" fmla="*/ 146 h 817"/>
                <a:gd name="T60" fmla="*/ 693 w 729"/>
                <a:gd name="T61" fmla="*/ 194 h 817"/>
                <a:gd name="T62" fmla="*/ 711 w 729"/>
                <a:gd name="T63" fmla="*/ 246 h 817"/>
                <a:gd name="T64" fmla="*/ 724 w 729"/>
                <a:gd name="T65" fmla="*/ 303 h 817"/>
                <a:gd name="T66" fmla="*/ 729 w 729"/>
                <a:gd name="T67" fmla="*/ 387 h 817"/>
                <a:gd name="T68" fmla="*/ 728 w 729"/>
                <a:gd name="T69" fmla="*/ 435 h 817"/>
                <a:gd name="T70" fmla="*/ 720 w 729"/>
                <a:gd name="T71" fmla="*/ 503 h 817"/>
                <a:gd name="T72" fmla="*/ 704 w 729"/>
                <a:gd name="T73" fmla="*/ 564 h 817"/>
                <a:gd name="T74" fmla="*/ 682 w 729"/>
                <a:gd name="T75" fmla="*/ 620 h 817"/>
                <a:gd name="T76" fmla="*/ 654 w 729"/>
                <a:gd name="T77" fmla="*/ 670 h 817"/>
                <a:gd name="T78" fmla="*/ 631 w 729"/>
                <a:gd name="T79" fmla="*/ 700 h 817"/>
                <a:gd name="T80" fmla="*/ 592 w 729"/>
                <a:gd name="T81" fmla="*/ 740 h 817"/>
                <a:gd name="T82" fmla="*/ 546 w 729"/>
                <a:gd name="T83" fmla="*/ 771 h 817"/>
                <a:gd name="T84" fmla="*/ 498 w 729"/>
                <a:gd name="T85" fmla="*/ 795 h 817"/>
                <a:gd name="T86" fmla="*/ 444 w 729"/>
                <a:gd name="T87" fmla="*/ 809 h 817"/>
                <a:gd name="T88" fmla="*/ 385 w 729"/>
                <a:gd name="T89" fmla="*/ 81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29" h="817">
                  <a:moveTo>
                    <a:pt x="365" y="817"/>
                  </a:moveTo>
                  <a:lnTo>
                    <a:pt x="365" y="817"/>
                  </a:lnTo>
                  <a:lnTo>
                    <a:pt x="344" y="817"/>
                  </a:lnTo>
                  <a:lnTo>
                    <a:pt x="323" y="815"/>
                  </a:lnTo>
                  <a:lnTo>
                    <a:pt x="304" y="813"/>
                  </a:lnTo>
                  <a:lnTo>
                    <a:pt x="284" y="810"/>
                  </a:lnTo>
                  <a:lnTo>
                    <a:pt x="266" y="806"/>
                  </a:lnTo>
                  <a:lnTo>
                    <a:pt x="248" y="802"/>
                  </a:lnTo>
                  <a:lnTo>
                    <a:pt x="230" y="797"/>
                  </a:lnTo>
                  <a:lnTo>
                    <a:pt x="213" y="791"/>
                  </a:lnTo>
                  <a:lnTo>
                    <a:pt x="196" y="784"/>
                  </a:lnTo>
                  <a:lnTo>
                    <a:pt x="181" y="777"/>
                  </a:lnTo>
                  <a:lnTo>
                    <a:pt x="165" y="767"/>
                  </a:lnTo>
                  <a:lnTo>
                    <a:pt x="151" y="758"/>
                  </a:lnTo>
                  <a:lnTo>
                    <a:pt x="136" y="748"/>
                  </a:lnTo>
                  <a:lnTo>
                    <a:pt x="122" y="738"/>
                  </a:lnTo>
                  <a:lnTo>
                    <a:pt x="109" y="726"/>
                  </a:lnTo>
                  <a:lnTo>
                    <a:pt x="98" y="713"/>
                  </a:lnTo>
                  <a:lnTo>
                    <a:pt x="98" y="713"/>
                  </a:lnTo>
                  <a:lnTo>
                    <a:pt x="86" y="700"/>
                  </a:lnTo>
                  <a:lnTo>
                    <a:pt x="74" y="686"/>
                  </a:lnTo>
                  <a:lnTo>
                    <a:pt x="64" y="672"/>
                  </a:lnTo>
                  <a:lnTo>
                    <a:pt x="55" y="656"/>
                  </a:lnTo>
                  <a:lnTo>
                    <a:pt x="46" y="640"/>
                  </a:lnTo>
                  <a:lnTo>
                    <a:pt x="38" y="625"/>
                  </a:lnTo>
                  <a:lnTo>
                    <a:pt x="30" y="607"/>
                  </a:lnTo>
                  <a:lnTo>
                    <a:pt x="24" y="590"/>
                  </a:lnTo>
                  <a:lnTo>
                    <a:pt x="18" y="572"/>
                  </a:lnTo>
                  <a:lnTo>
                    <a:pt x="13" y="553"/>
                  </a:lnTo>
                  <a:lnTo>
                    <a:pt x="9" y="534"/>
                  </a:lnTo>
                  <a:lnTo>
                    <a:pt x="5" y="513"/>
                  </a:lnTo>
                  <a:lnTo>
                    <a:pt x="3" y="493"/>
                  </a:lnTo>
                  <a:lnTo>
                    <a:pt x="2" y="472"/>
                  </a:lnTo>
                  <a:lnTo>
                    <a:pt x="0" y="450"/>
                  </a:lnTo>
                  <a:lnTo>
                    <a:pt x="0" y="428"/>
                  </a:lnTo>
                  <a:lnTo>
                    <a:pt x="0" y="428"/>
                  </a:lnTo>
                  <a:lnTo>
                    <a:pt x="0" y="403"/>
                  </a:lnTo>
                  <a:lnTo>
                    <a:pt x="2" y="380"/>
                  </a:lnTo>
                  <a:lnTo>
                    <a:pt x="3" y="356"/>
                  </a:lnTo>
                  <a:lnTo>
                    <a:pt x="7" y="334"/>
                  </a:lnTo>
                  <a:lnTo>
                    <a:pt x="9" y="314"/>
                  </a:lnTo>
                  <a:lnTo>
                    <a:pt x="15" y="292"/>
                  </a:lnTo>
                  <a:lnTo>
                    <a:pt x="20" y="272"/>
                  </a:lnTo>
                  <a:lnTo>
                    <a:pt x="25" y="251"/>
                  </a:lnTo>
                  <a:lnTo>
                    <a:pt x="33" y="233"/>
                  </a:lnTo>
                  <a:lnTo>
                    <a:pt x="40" y="214"/>
                  </a:lnTo>
                  <a:lnTo>
                    <a:pt x="48" y="196"/>
                  </a:lnTo>
                  <a:lnTo>
                    <a:pt x="57" y="179"/>
                  </a:lnTo>
                  <a:lnTo>
                    <a:pt x="68" y="162"/>
                  </a:lnTo>
                  <a:lnTo>
                    <a:pt x="78" y="146"/>
                  </a:lnTo>
                  <a:lnTo>
                    <a:pt x="90" y="131"/>
                  </a:lnTo>
                  <a:lnTo>
                    <a:pt x="103" y="116"/>
                  </a:lnTo>
                  <a:lnTo>
                    <a:pt x="103" y="116"/>
                  </a:lnTo>
                  <a:lnTo>
                    <a:pt x="116" y="102"/>
                  </a:lnTo>
                  <a:lnTo>
                    <a:pt x="130" y="89"/>
                  </a:lnTo>
                  <a:lnTo>
                    <a:pt x="144" y="76"/>
                  </a:lnTo>
                  <a:lnTo>
                    <a:pt x="159" y="65"/>
                  </a:lnTo>
                  <a:lnTo>
                    <a:pt x="174" y="54"/>
                  </a:lnTo>
                  <a:lnTo>
                    <a:pt x="190" y="45"/>
                  </a:lnTo>
                  <a:lnTo>
                    <a:pt x="206" y="36"/>
                  </a:lnTo>
                  <a:lnTo>
                    <a:pt x="223" y="28"/>
                  </a:lnTo>
                  <a:lnTo>
                    <a:pt x="240" y="22"/>
                  </a:lnTo>
                  <a:lnTo>
                    <a:pt x="258" y="17"/>
                  </a:lnTo>
                  <a:lnTo>
                    <a:pt x="277" y="11"/>
                  </a:lnTo>
                  <a:lnTo>
                    <a:pt x="296" y="8"/>
                  </a:lnTo>
                  <a:lnTo>
                    <a:pt x="315" y="4"/>
                  </a:lnTo>
                  <a:lnTo>
                    <a:pt x="335" y="1"/>
                  </a:lnTo>
                  <a:lnTo>
                    <a:pt x="356" y="0"/>
                  </a:lnTo>
                  <a:lnTo>
                    <a:pt x="378" y="0"/>
                  </a:lnTo>
                  <a:lnTo>
                    <a:pt x="378" y="0"/>
                  </a:lnTo>
                  <a:lnTo>
                    <a:pt x="397" y="0"/>
                  </a:lnTo>
                  <a:lnTo>
                    <a:pt x="417" y="1"/>
                  </a:lnTo>
                  <a:lnTo>
                    <a:pt x="435" y="4"/>
                  </a:lnTo>
                  <a:lnTo>
                    <a:pt x="454" y="6"/>
                  </a:lnTo>
                  <a:lnTo>
                    <a:pt x="471" y="10"/>
                  </a:lnTo>
                  <a:lnTo>
                    <a:pt x="489" y="14"/>
                  </a:lnTo>
                  <a:lnTo>
                    <a:pt x="506" y="19"/>
                  </a:lnTo>
                  <a:lnTo>
                    <a:pt x="522" y="26"/>
                  </a:lnTo>
                  <a:lnTo>
                    <a:pt x="538" y="33"/>
                  </a:lnTo>
                  <a:lnTo>
                    <a:pt x="553" y="41"/>
                  </a:lnTo>
                  <a:lnTo>
                    <a:pt x="568" y="49"/>
                  </a:lnTo>
                  <a:lnTo>
                    <a:pt x="583" y="59"/>
                  </a:lnTo>
                  <a:lnTo>
                    <a:pt x="596" y="68"/>
                  </a:lnTo>
                  <a:lnTo>
                    <a:pt x="608" y="80"/>
                  </a:lnTo>
                  <a:lnTo>
                    <a:pt x="621" y="92"/>
                  </a:lnTo>
                  <a:lnTo>
                    <a:pt x="634" y="105"/>
                  </a:lnTo>
                  <a:lnTo>
                    <a:pt x="634" y="105"/>
                  </a:lnTo>
                  <a:lnTo>
                    <a:pt x="646" y="118"/>
                  </a:lnTo>
                  <a:lnTo>
                    <a:pt x="656" y="132"/>
                  </a:lnTo>
                  <a:lnTo>
                    <a:pt x="667" y="146"/>
                  </a:lnTo>
                  <a:lnTo>
                    <a:pt x="676" y="162"/>
                  </a:lnTo>
                  <a:lnTo>
                    <a:pt x="685" y="177"/>
                  </a:lnTo>
                  <a:lnTo>
                    <a:pt x="693" y="194"/>
                  </a:lnTo>
                  <a:lnTo>
                    <a:pt x="699" y="211"/>
                  </a:lnTo>
                  <a:lnTo>
                    <a:pt x="706" y="228"/>
                  </a:lnTo>
                  <a:lnTo>
                    <a:pt x="711" y="246"/>
                  </a:lnTo>
                  <a:lnTo>
                    <a:pt x="716" y="264"/>
                  </a:lnTo>
                  <a:lnTo>
                    <a:pt x="720" y="284"/>
                  </a:lnTo>
                  <a:lnTo>
                    <a:pt x="724" y="303"/>
                  </a:lnTo>
                  <a:lnTo>
                    <a:pt x="726" y="324"/>
                  </a:lnTo>
                  <a:lnTo>
                    <a:pt x="728" y="345"/>
                  </a:lnTo>
                  <a:lnTo>
                    <a:pt x="729" y="387"/>
                  </a:lnTo>
                  <a:lnTo>
                    <a:pt x="729" y="387"/>
                  </a:lnTo>
                  <a:lnTo>
                    <a:pt x="729" y="412"/>
                  </a:lnTo>
                  <a:lnTo>
                    <a:pt x="728" y="435"/>
                  </a:lnTo>
                  <a:lnTo>
                    <a:pt x="726" y="459"/>
                  </a:lnTo>
                  <a:lnTo>
                    <a:pt x="724" y="481"/>
                  </a:lnTo>
                  <a:lnTo>
                    <a:pt x="720" y="503"/>
                  </a:lnTo>
                  <a:lnTo>
                    <a:pt x="716" y="524"/>
                  </a:lnTo>
                  <a:lnTo>
                    <a:pt x="711" y="544"/>
                  </a:lnTo>
                  <a:lnTo>
                    <a:pt x="704" y="564"/>
                  </a:lnTo>
                  <a:lnTo>
                    <a:pt x="698" y="583"/>
                  </a:lnTo>
                  <a:lnTo>
                    <a:pt x="691" y="601"/>
                  </a:lnTo>
                  <a:lnTo>
                    <a:pt x="682" y="620"/>
                  </a:lnTo>
                  <a:lnTo>
                    <a:pt x="673" y="638"/>
                  </a:lnTo>
                  <a:lnTo>
                    <a:pt x="664" y="653"/>
                  </a:lnTo>
                  <a:lnTo>
                    <a:pt x="654" y="670"/>
                  </a:lnTo>
                  <a:lnTo>
                    <a:pt x="642" y="686"/>
                  </a:lnTo>
                  <a:lnTo>
                    <a:pt x="631" y="700"/>
                  </a:lnTo>
                  <a:lnTo>
                    <a:pt x="631" y="700"/>
                  </a:lnTo>
                  <a:lnTo>
                    <a:pt x="618" y="714"/>
                  </a:lnTo>
                  <a:lnTo>
                    <a:pt x="605" y="727"/>
                  </a:lnTo>
                  <a:lnTo>
                    <a:pt x="592" y="740"/>
                  </a:lnTo>
                  <a:lnTo>
                    <a:pt x="577" y="752"/>
                  </a:lnTo>
                  <a:lnTo>
                    <a:pt x="562" y="762"/>
                  </a:lnTo>
                  <a:lnTo>
                    <a:pt x="546" y="771"/>
                  </a:lnTo>
                  <a:lnTo>
                    <a:pt x="531" y="780"/>
                  </a:lnTo>
                  <a:lnTo>
                    <a:pt x="515" y="788"/>
                  </a:lnTo>
                  <a:lnTo>
                    <a:pt x="498" y="795"/>
                  </a:lnTo>
                  <a:lnTo>
                    <a:pt x="480" y="800"/>
                  </a:lnTo>
                  <a:lnTo>
                    <a:pt x="462" y="805"/>
                  </a:lnTo>
                  <a:lnTo>
                    <a:pt x="444" y="809"/>
                  </a:lnTo>
                  <a:lnTo>
                    <a:pt x="426" y="813"/>
                  </a:lnTo>
                  <a:lnTo>
                    <a:pt x="406" y="815"/>
                  </a:lnTo>
                  <a:lnTo>
                    <a:pt x="385" y="817"/>
                  </a:lnTo>
                  <a:lnTo>
                    <a:pt x="365" y="817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26"/>
            <p:cNvSpPr>
              <a:spLocks/>
            </p:cNvSpPr>
            <p:nvPr userDrawn="1"/>
          </p:nvSpPr>
          <p:spPr bwMode="auto">
            <a:xfrm>
              <a:off x="5645" y="1252"/>
              <a:ext cx="258" cy="267"/>
            </a:xfrm>
            <a:custGeom>
              <a:avLst/>
              <a:gdLst>
                <a:gd name="T0" fmla="*/ 77 w 774"/>
                <a:gd name="T1" fmla="*/ 99 h 802"/>
                <a:gd name="T2" fmla="*/ 0 w 774"/>
                <a:gd name="T3" fmla="*/ 0 h 802"/>
                <a:gd name="T4" fmla="*/ 326 w 774"/>
                <a:gd name="T5" fmla="*/ 74 h 802"/>
                <a:gd name="T6" fmla="*/ 247 w 774"/>
                <a:gd name="T7" fmla="*/ 503 h 802"/>
                <a:gd name="T8" fmla="*/ 249 w 774"/>
                <a:gd name="T9" fmla="*/ 528 h 802"/>
                <a:gd name="T10" fmla="*/ 253 w 774"/>
                <a:gd name="T11" fmla="*/ 572 h 802"/>
                <a:gd name="T12" fmla="*/ 262 w 774"/>
                <a:gd name="T13" fmla="*/ 610 h 802"/>
                <a:gd name="T14" fmla="*/ 276 w 774"/>
                <a:gd name="T15" fmla="*/ 638 h 802"/>
                <a:gd name="T16" fmla="*/ 285 w 774"/>
                <a:gd name="T17" fmla="*/ 651 h 802"/>
                <a:gd name="T18" fmla="*/ 306 w 774"/>
                <a:gd name="T19" fmla="*/ 671 h 802"/>
                <a:gd name="T20" fmla="*/ 333 w 774"/>
                <a:gd name="T21" fmla="*/ 684 h 802"/>
                <a:gd name="T22" fmla="*/ 365 w 774"/>
                <a:gd name="T23" fmla="*/ 693 h 802"/>
                <a:gd name="T24" fmla="*/ 403 w 774"/>
                <a:gd name="T25" fmla="*/ 695 h 802"/>
                <a:gd name="T26" fmla="*/ 422 w 774"/>
                <a:gd name="T27" fmla="*/ 695 h 802"/>
                <a:gd name="T28" fmla="*/ 457 w 774"/>
                <a:gd name="T29" fmla="*/ 690 h 802"/>
                <a:gd name="T30" fmla="*/ 486 w 774"/>
                <a:gd name="T31" fmla="*/ 680 h 802"/>
                <a:gd name="T32" fmla="*/ 509 w 774"/>
                <a:gd name="T33" fmla="*/ 664 h 802"/>
                <a:gd name="T34" fmla="*/ 518 w 774"/>
                <a:gd name="T35" fmla="*/ 655 h 802"/>
                <a:gd name="T36" fmla="*/ 534 w 774"/>
                <a:gd name="T37" fmla="*/ 631 h 802"/>
                <a:gd name="T38" fmla="*/ 544 w 774"/>
                <a:gd name="T39" fmla="*/ 599 h 802"/>
                <a:gd name="T40" fmla="*/ 551 w 774"/>
                <a:gd name="T41" fmla="*/ 561 h 802"/>
                <a:gd name="T42" fmla="*/ 553 w 774"/>
                <a:gd name="T43" fmla="*/ 514 h 802"/>
                <a:gd name="T44" fmla="*/ 476 w 774"/>
                <a:gd name="T45" fmla="*/ 74 h 802"/>
                <a:gd name="T46" fmla="*/ 774 w 774"/>
                <a:gd name="T47" fmla="*/ 0 h 802"/>
                <a:gd name="T48" fmla="*/ 696 w 774"/>
                <a:gd name="T49" fmla="*/ 99 h 802"/>
                <a:gd name="T50" fmla="*/ 696 w 774"/>
                <a:gd name="T51" fmla="*/ 494 h 802"/>
                <a:gd name="T52" fmla="*/ 693 w 774"/>
                <a:gd name="T53" fmla="*/ 574 h 802"/>
                <a:gd name="T54" fmla="*/ 687 w 774"/>
                <a:gd name="T55" fmla="*/ 628 h 802"/>
                <a:gd name="T56" fmla="*/ 680 w 774"/>
                <a:gd name="T57" fmla="*/ 649 h 802"/>
                <a:gd name="T58" fmla="*/ 664 w 774"/>
                <a:gd name="T59" fmla="*/ 685 h 802"/>
                <a:gd name="T60" fmla="*/ 652 w 774"/>
                <a:gd name="T61" fmla="*/ 701 h 802"/>
                <a:gd name="T62" fmla="*/ 630 w 774"/>
                <a:gd name="T63" fmla="*/ 724 h 802"/>
                <a:gd name="T64" fmla="*/ 605 w 774"/>
                <a:gd name="T65" fmla="*/ 745 h 802"/>
                <a:gd name="T66" fmla="*/ 577 w 774"/>
                <a:gd name="T67" fmla="*/ 762 h 802"/>
                <a:gd name="T68" fmla="*/ 546 w 774"/>
                <a:gd name="T69" fmla="*/ 776 h 802"/>
                <a:gd name="T70" fmla="*/ 529 w 774"/>
                <a:gd name="T71" fmla="*/ 782 h 802"/>
                <a:gd name="T72" fmla="*/ 491 w 774"/>
                <a:gd name="T73" fmla="*/ 791 h 802"/>
                <a:gd name="T74" fmla="*/ 452 w 774"/>
                <a:gd name="T75" fmla="*/ 798 h 802"/>
                <a:gd name="T76" fmla="*/ 409 w 774"/>
                <a:gd name="T77" fmla="*/ 802 h 802"/>
                <a:gd name="T78" fmla="*/ 386 w 774"/>
                <a:gd name="T79" fmla="*/ 802 h 802"/>
                <a:gd name="T80" fmla="*/ 308 w 774"/>
                <a:gd name="T81" fmla="*/ 798 h 802"/>
                <a:gd name="T82" fmla="*/ 243 w 774"/>
                <a:gd name="T83" fmla="*/ 785 h 802"/>
                <a:gd name="T84" fmla="*/ 202 w 774"/>
                <a:gd name="T85" fmla="*/ 771 h 802"/>
                <a:gd name="T86" fmla="*/ 179 w 774"/>
                <a:gd name="T87" fmla="*/ 758 h 802"/>
                <a:gd name="T88" fmla="*/ 158 w 774"/>
                <a:gd name="T89" fmla="*/ 743 h 802"/>
                <a:gd name="T90" fmla="*/ 148 w 774"/>
                <a:gd name="T91" fmla="*/ 736 h 802"/>
                <a:gd name="T92" fmla="*/ 132 w 774"/>
                <a:gd name="T93" fmla="*/ 717 h 802"/>
                <a:gd name="T94" fmla="*/ 116 w 774"/>
                <a:gd name="T95" fmla="*/ 697 h 802"/>
                <a:gd name="T96" fmla="*/ 105 w 774"/>
                <a:gd name="T97" fmla="*/ 673 h 802"/>
                <a:gd name="T98" fmla="*/ 87 w 774"/>
                <a:gd name="T99" fmla="*/ 616 h 802"/>
                <a:gd name="T100" fmla="*/ 77 w 774"/>
                <a:gd name="T101" fmla="*/ 549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74" h="802">
                  <a:moveTo>
                    <a:pt x="77" y="510"/>
                  </a:moveTo>
                  <a:lnTo>
                    <a:pt x="77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326" y="0"/>
                  </a:lnTo>
                  <a:lnTo>
                    <a:pt x="326" y="74"/>
                  </a:lnTo>
                  <a:lnTo>
                    <a:pt x="247" y="99"/>
                  </a:lnTo>
                  <a:lnTo>
                    <a:pt x="247" y="503"/>
                  </a:lnTo>
                  <a:lnTo>
                    <a:pt x="247" y="503"/>
                  </a:lnTo>
                  <a:lnTo>
                    <a:pt x="249" y="528"/>
                  </a:lnTo>
                  <a:lnTo>
                    <a:pt x="250" y="551"/>
                  </a:lnTo>
                  <a:lnTo>
                    <a:pt x="253" y="572"/>
                  </a:lnTo>
                  <a:lnTo>
                    <a:pt x="256" y="592"/>
                  </a:lnTo>
                  <a:lnTo>
                    <a:pt x="262" y="610"/>
                  </a:lnTo>
                  <a:lnTo>
                    <a:pt x="268" y="625"/>
                  </a:lnTo>
                  <a:lnTo>
                    <a:pt x="276" y="638"/>
                  </a:lnTo>
                  <a:lnTo>
                    <a:pt x="285" y="651"/>
                  </a:lnTo>
                  <a:lnTo>
                    <a:pt x="285" y="651"/>
                  </a:lnTo>
                  <a:lnTo>
                    <a:pt x="294" y="662"/>
                  </a:lnTo>
                  <a:lnTo>
                    <a:pt x="306" y="671"/>
                  </a:lnTo>
                  <a:lnTo>
                    <a:pt x="319" y="679"/>
                  </a:lnTo>
                  <a:lnTo>
                    <a:pt x="333" y="684"/>
                  </a:lnTo>
                  <a:lnTo>
                    <a:pt x="349" y="689"/>
                  </a:lnTo>
                  <a:lnTo>
                    <a:pt x="365" y="693"/>
                  </a:lnTo>
                  <a:lnTo>
                    <a:pt x="384" y="695"/>
                  </a:lnTo>
                  <a:lnTo>
                    <a:pt x="403" y="695"/>
                  </a:lnTo>
                  <a:lnTo>
                    <a:pt x="403" y="695"/>
                  </a:lnTo>
                  <a:lnTo>
                    <a:pt x="422" y="695"/>
                  </a:lnTo>
                  <a:lnTo>
                    <a:pt x="441" y="693"/>
                  </a:lnTo>
                  <a:lnTo>
                    <a:pt x="457" y="690"/>
                  </a:lnTo>
                  <a:lnTo>
                    <a:pt x="473" y="685"/>
                  </a:lnTo>
                  <a:lnTo>
                    <a:pt x="486" y="680"/>
                  </a:lnTo>
                  <a:lnTo>
                    <a:pt x="499" y="672"/>
                  </a:lnTo>
                  <a:lnTo>
                    <a:pt x="509" y="664"/>
                  </a:lnTo>
                  <a:lnTo>
                    <a:pt x="518" y="655"/>
                  </a:lnTo>
                  <a:lnTo>
                    <a:pt x="518" y="655"/>
                  </a:lnTo>
                  <a:lnTo>
                    <a:pt x="526" y="644"/>
                  </a:lnTo>
                  <a:lnTo>
                    <a:pt x="534" y="631"/>
                  </a:lnTo>
                  <a:lnTo>
                    <a:pt x="539" y="616"/>
                  </a:lnTo>
                  <a:lnTo>
                    <a:pt x="544" y="599"/>
                  </a:lnTo>
                  <a:lnTo>
                    <a:pt x="548" y="580"/>
                  </a:lnTo>
                  <a:lnTo>
                    <a:pt x="551" y="561"/>
                  </a:lnTo>
                  <a:lnTo>
                    <a:pt x="552" y="538"/>
                  </a:lnTo>
                  <a:lnTo>
                    <a:pt x="553" y="514"/>
                  </a:lnTo>
                  <a:lnTo>
                    <a:pt x="553" y="99"/>
                  </a:lnTo>
                  <a:lnTo>
                    <a:pt x="476" y="74"/>
                  </a:lnTo>
                  <a:lnTo>
                    <a:pt x="476" y="0"/>
                  </a:lnTo>
                  <a:lnTo>
                    <a:pt x="774" y="0"/>
                  </a:lnTo>
                  <a:lnTo>
                    <a:pt x="774" y="74"/>
                  </a:lnTo>
                  <a:lnTo>
                    <a:pt x="696" y="99"/>
                  </a:lnTo>
                  <a:lnTo>
                    <a:pt x="696" y="494"/>
                  </a:lnTo>
                  <a:lnTo>
                    <a:pt x="696" y="494"/>
                  </a:lnTo>
                  <a:lnTo>
                    <a:pt x="696" y="537"/>
                  </a:lnTo>
                  <a:lnTo>
                    <a:pt x="693" y="574"/>
                  </a:lnTo>
                  <a:lnTo>
                    <a:pt x="691" y="605"/>
                  </a:lnTo>
                  <a:lnTo>
                    <a:pt x="687" y="628"/>
                  </a:lnTo>
                  <a:lnTo>
                    <a:pt x="687" y="628"/>
                  </a:lnTo>
                  <a:lnTo>
                    <a:pt x="680" y="649"/>
                  </a:lnTo>
                  <a:lnTo>
                    <a:pt x="673" y="668"/>
                  </a:lnTo>
                  <a:lnTo>
                    <a:pt x="664" y="685"/>
                  </a:lnTo>
                  <a:lnTo>
                    <a:pt x="652" y="701"/>
                  </a:lnTo>
                  <a:lnTo>
                    <a:pt x="652" y="701"/>
                  </a:lnTo>
                  <a:lnTo>
                    <a:pt x="642" y="712"/>
                  </a:lnTo>
                  <a:lnTo>
                    <a:pt x="630" y="724"/>
                  </a:lnTo>
                  <a:lnTo>
                    <a:pt x="618" y="734"/>
                  </a:lnTo>
                  <a:lnTo>
                    <a:pt x="605" y="745"/>
                  </a:lnTo>
                  <a:lnTo>
                    <a:pt x="591" y="754"/>
                  </a:lnTo>
                  <a:lnTo>
                    <a:pt x="577" y="762"/>
                  </a:lnTo>
                  <a:lnTo>
                    <a:pt x="561" y="769"/>
                  </a:lnTo>
                  <a:lnTo>
                    <a:pt x="546" y="776"/>
                  </a:lnTo>
                  <a:lnTo>
                    <a:pt x="546" y="776"/>
                  </a:lnTo>
                  <a:lnTo>
                    <a:pt x="529" y="782"/>
                  </a:lnTo>
                  <a:lnTo>
                    <a:pt x="511" y="787"/>
                  </a:lnTo>
                  <a:lnTo>
                    <a:pt x="491" y="791"/>
                  </a:lnTo>
                  <a:lnTo>
                    <a:pt x="472" y="795"/>
                  </a:lnTo>
                  <a:lnTo>
                    <a:pt x="452" y="798"/>
                  </a:lnTo>
                  <a:lnTo>
                    <a:pt x="432" y="800"/>
                  </a:lnTo>
                  <a:lnTo>
                    <a:pt x="409" y="802"/>
                  </a:lnTo>
                  <a:lnTo>
                    <a:pt x="386" y="802"/>
                  </a:lnTo>
                  <a:lnTo>
                    <a:pt x="386" y="802"/>
                  </a:lnTo>
                  <a:lnTo>
                    <a:pt x="346" y="800"/>
                  </a:lnTo>
                  <a:lnTo>
                    <a:pt x="308" y="798"/>
                  </a:lnTo>
                  <a:lnTo>
                    <a:pt x="275" y="793"/>
                  </a:lnTo>
                  <a:lnTo>
                    <a:pt x="243" y="785"/>
                  </a:lnTo>
                  <a:lnTo>
                    <a:pt x="215" y="776"/>
                  </a:lnTo>
                  <a:lnTo>
                    <a:pt x="202" y="771"/>
                  </a:lnTo>
                  <a:lnTo>
                    <a:pt x="190" y="764"/>
                  </a:lnTo>
                  <a:lnTo>
                    <a:pt x="179" y="758"/>
                  </a:lnTo>
                  <a:lnTo>
                    <a:pt x="167" y="751"/>
                  </a:lnTo>
                  <a:lnTo>
                    <a:pt x="158" y="743"/>
                  </a:lnTo>
                  <a:lnTo>
                    <a:pt x="148" y="736"/>
                  </a:lnTo>
                  <a:lnTo>
                    <a:pt x="148" y="736"/>
                  </a:lnTo>
                  <a:lnTo>
                    <a:pt x="140" y="727"/>
                  </a:lnTo>
                  <a:lnTo>
                    <a:pt x="132" y="717"/>
                  </a:lnTo>
                  <a:lnTo>
                    <a:pt x="124" y="707"/>
                  </a:lnTo>
                  <a:lnTo>
                    <a:pt x="116" y="697"/>
                  </a:lnTo>
                  <a:lnTo>
                    <a:pt x="111" y="685"/>
                  </a:lnTo>
                  <a:lnTo>
                    <a:pt x="105" y="673"/>
                  </a:lnTo>
                  <a:lnTo>
                    <a:pt x="94" y="646"/>
                  </a:lnTo>
                  <a:lnTo>
                    <a:pt x="87" y="616"/>
                  </a:lnTo>
                  <a:lnTo>
                    <a:pt x="81" y="584"/>
                  </a:lnTo>
                  <a:lnTo>
                    <a:pt x="77" y="549"/>
                  </a:lnTo>
                  <a:lnTo>
                    <a:pt x="77" y="5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27"/>
            <p:cNvSpPr>
              <a:spLocks/>
            </p:cNvSpPr>
            <p:nvPr userDrawn="1"/>
          </p:nvSpPr>
          <p:spPr bwMode="auto">
            <a:xfrm>
              <a:off x="5645" y="1252"/>
              <a:ext cx="258" cy="267"/>
            </a:xfrm>
            <a:custGeom>
              <a:avLst/>
              <a:gdLst>
                <a:gd name="T0" fmla="*/ 77 w 774"/>
                <a:gd name="T1" fmla="*/ 99 h 802"/>
                <a:gd name="T2" fmla="*/ 0 w 774"/>
                <a:gd name="T3" fmla="*/ 0 h 802"/>
                <a:gd name="T4" fmla="*/ 326 w 774"/>
                <a:gd name="T5" fmla="*/ 74 h 802"/>
                <a:gd name="T6" fmla="*/ 247 w 774"/>
                <a:gd name="T7" fmla="*/ 503 h 802"/>
                <a:gd name="T8" fmla="*/ 249 w 774"/>
                <a:gd name="T9" fmla="*/ 528 h 802"/>
                <a:gd name="T10" fmla="*/ 253 w 774"/>
                <a:gd name="T11" fmla="*/ 572 h 802"/>
                <a:gd name="T12" fmla="*/ 262 w 774"/>
                <a:gd name="T13" fmla="*/ 610 h 802"/>
                <a:gd name="T14" fmla="*/ 276 w 774"/>
                <a:gd name="T15" fmla="*/ 638 h 802"/>
                <a:gd name="T16" fmla="*/ 285 w 774"/>
                <a:gd name="T17" fmla="*/ 651 h 802"/>
                <a:gd name="T18" fmla="*/ 306 w 774"/>
                <a:gd name="T19" fmla="*/ 671 h 802"/>
                <a:gd name="T20" fmla="*/ 333 w 774"/>
                <a:gd name="T21" fmla="*/ 684 h 802"/>
                <a:gd name="T22" fmla="*/ 365 w 774"/>
                <a:gd name="T23" fmla="*/ 693 h 802"/>
                <a:gd name="T24" fmla="*/ 403 w 774"/>
                <a:gd name="T25" fmla="*/ 695 h 802"/>
                <a:gd name="T26" fmla="*/ 422 w 774"/>
                <a:gd name="T27" fmla="*/ 695 h 802"/>
                <a:gd name="T28" fmla="*/ 457 w 774"/>
                <a:gd name="T29" fmla="*/ 690 h 802"/>
                <a:gd name="T30" fmla="*/ 486 w 774"/>
                <a:gd name="T31" fmla="*/ 680 h 802"/>
                <a:gd name="T32" fmla="*/ 509 w 774"/>
                <a:gd name="T33" fmla="*/ 664 h 802"/>
                <a:gd name="T34" fmla="*/ 518 w 774"/>
                <a:gd name="T35" fmla="*/ 655 h 802"/>
                <a:gd name="T36" fmla="*/ 534 w 774"/>
                <a:gd name="T37" fmla="*/ 631 h 802"/>
                <a:gd name="T38" fmla="*/ 544 w 774"/>
                <a:gd name="T39" fmla="*/ 599 h 802"/>
                <a:gd name="T40" fmla="*/ 551 w 774"/>
                <a:gd name="T41" fmla="*/ 561 h 802"/>
                <a:gd name="T42" fmla="*/ 553 w 774"/>
                <a:gd name="T43" fmla="*/ 514 h 802"/>
                <a:gd name="T44" fmla="*/ 476 w 774"/>
                <a:gd name="T45" fmla="*/ 74 h 802"/>
                <a:gd name="T46" fmla="*/ 774 w 774"/>
                <a:gd name="T47" fmla="*/ 0 h 802"/>
                <a:gd name="T48" fmla="*/ 696 w 774"/>
                <a:gd name="T49" fmla="*/ 99 h 802"/>
                <a:gd name="T50" fmla="*/ 696 w 774"/>
                <a:gd name="T51" fmla="*/ 494 h 802"/>
                <a:gd name="T52" fmla="*/ 693 w 774"/>
                <a:gd name="T53" fmla="*/ 574 h 802"/>
                <a:gd name="T54" fmla="*/ 687 w 774"/>
                <a:gd name="T55" fmla="*/ 628 h 802"/>
                <a:gd name="T56" fmla="*/ 680 w 774"/>
                <a:gd name="T57" fmla="*/ 649 h 802"/>
                <a:gd name="T58" fmla="*/ 664 w 774"/>
                <a:gd name="T59" fmla="*/ 685 h 802"/>
                <a:gd name="T60" fmla="*/ 652 w 774"/>
                <a:gd name="T61" fmla="*/ 701 h 802"/>
                <a:gd name="T62" fmla="*/ 630 w 774"/>
                <a:gd name="T63" fmla="*/ 724 h 802"/>
                <a:gd name="T64" fmla="*/ 605 w 774"/>
                <a:gd name="T65" fmla="*/ 745 h 802"/>
                <a:gd name="T66" fmla="*/ 577 w 774"/>
                <a:gd name="T67" fmla="*/ 762 h 802"/>
                <a:gd name="T68" fmla="*/ 546 w 774"/>
                <a:gd name="T69" fmla="*/ 776 h 802"/>
                <a:gd name="T70" fmla="*/ 529 w 774"/>
                <a:gd name="T71" fmla="*/ 782 h 802"/>
                <a:gd name="T72" fmla="*/ 491 w 774"/>
                <a:gd name="T73" fmla="*/ 791 h 802"/>
                <a:gd name="T74" fmla="*/ 452 w 774"/>
                <a:gd name="T75" fmla="*/ 798 h 802"/>
                <a:gd name="T76" fmla="*/ 409 w 774"/>
                <a:gd name="T77" fmla="*/ 802 h 802"/>
                <a:gd name="T78" fmla="*/ 386 w 774"/>
                <a:gd name="T79" fmla="*/ 802 h 802"/>
                <a:gd name="T80" fmla="*/ 308 w 774"/>
                <a:gd name="T81" fmla="*/ 798 h 802"/>
                <a:gd name="T82" fmla="*/ 243 w 774"/>
                <a:gd name="T83" fmla="*/ 785 h 802"/>
                <a:gd name="T84" fmla="*/ 202 w 774"/>
                <a:gd name="T85" fmla="*/ 771 h 802"/>
                <a:gd name="T86" fmla="*/ 179 w 774"/>
                <a:gd name="T87" fmla="*/ 758 h 802"/>
                <a:gd name="T88" fmla="*/ 158 w 774"/>
                <a:gd name="T89" fmla="*/ 743 h 802"/>
                <a:gd name="T90" fmla="*/ 148 w 774"/>
                <a:gd name="T91" fmla="*/ 736 h 802"/>
                <a:gd name="T92" fmla="*/ 132 w 774"/>
                <a:gd name="T93" fmla="*/ 717 h 802"/>
                <a:gd name="T94" fmla="*/ 116 w 774"/>
                <a:gd name="T95" fmla="*/ 697 h 802"/>
                <a:gd name="T96" fmla="*/ 105 w 774"/>
                <a:gd name="T97" fmla="*/ 673 h 802"/>
                <a:gd name="T98" fmla="*/ 87 w 774"/>
                <a:gd name="T99" fmla="*/ 616 h 802"/>
                <a:gd name="T100" fmla="*/ 77 w 774"/>
                <a:gd name="T101" fmla="*/ 549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74" h="802">
                  <a:moveTo>
                    <a:pt x="77" y="510"/>
                  </a:moveTo>
                  <a:lnTo>
                    <a:pt x="77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326" y="0"/>
                  </a:lnTo>
                  <a:lnTo>
                    <a:pt x="326" y="74"/>
                  </a:lnTo>
                  <a:lnTo>
                    <a:pt x="247" y="99"/>
                  </a:lnTo>
                  <a:lnTo>
                    <a:pt x="247" y="503"/>
                  </a:lnTo>
                  <a:lnTo>
                    <a:pt x="247" y="503"/>
                  </a:lnTo>
                  <a:lnTo>
                    <a:pt x="249" y="528"/>
                  </a:lnTo>
                  <a:lnTo>
                    <a:pt x="250" y="551"/>
                  </a:lnTo>
                  <a:lnTo>
                    <a:pt x="253" y="572"/>
                  </a:lnTo>
                  <a:lnTo>
                    <a:pt x="256" y="592"/>
                  </a:lnTo>
                  <a:lnTo>
                    <a:pt x="262" y="610"/>
                  </a:lnTo>
                  <a:lnTo>
                    <a:pt x="268" y="625"/>
                  </a:lnTo>
                  <a:lnTo>
                    <a:pt x="276" y="638"/>
                  </a:lnTo>
                  <a:lnTo>
                    <a:pt x="285" y="651"/>
                  </a:lnTo>
                  <a:lnTo>
                    <a:pt x="285" y="651"/>
                  </a:lnTo>
                  <a:lnTo>
                    <a:pt x="294" y="662"/>
                  </a:lnTo>
                  <a:lnTo>
                    <a:pt x="306" y="671"/>
                  </a:lnTo>
                  <a:lnTo>
                    <a:pt x="319" y="679"/>
                  </a:lnTo>
                  <a:lnTo>
                    <a:pt x="333" y="684"/>
                  </a:lnTo>
                  <a:lnTo>
                    <a:pt x="349" y="689"/>
                  </a:lnTo>
                  <a:lnTo>
                    <a:pt x="365" y="693"/>
                  </a:lnTo>
                  <a:lnTo>
                    <a:pt x="384" y="695"/>
                  </a:lnTo>
                  <a:lnTo>
                    <a:pt x="403" y="695"/>
                  </a:lnTo>
                  <a:lnTo>
                    <a:pt x="403" y="695"/>
                  </a:lnTo>
                  <a:lnTo>
                    <a:pt x="422" y="695"/>
                  </a:lnTo>
                  <a:lnTo>
                    <a:pt x="441" y="693"/>
                  </a:lnTo>
                  <a:lnTo>
                    <a:pt x="457" y="690"/>
                  </a:lnTo>
                  <a:lnTo>
                    <a:pt x="473" y="685"/>
                  </a:lnTo>
                  <a:lnTo>
                    <a:pt x="486" y="680"/>
                  </a:lnTo>
                  <a:lnTo>
                    <a:pt x="499" y="672"/>
                  </a:lnTo>
                  <a:lnTo>
                    <a:pt x="509" y="664"/>
                  </a:lnTo>
                  <a:lnTo>
                    <a:pt x="518" y="655"/>
                  </a:lnTo>
                  <a:lnTo>
                    <a:pt x="518" y="655"/>
                  </a:lnTo>
                  <a:lnTo>
                    <a:pt x="526" y="644"/>
                  </a:lnTo>
                  <a:lnTo>
                    <a:pt x="534" y="631"/>
                  </a:lnTo>
                  <a:lnTo>
                    <a:pt x="539" y="616"/>
                  </a:lnTo>
                  <a:lnTo>
                    <a:pt x="544" y="599"/>
                  </a:lnTo>
                  <a:lnTo>
                    <a:pt x="548" y="580"/>
                  </a:lnTo>
                  <a:lnTo>
                    <a:pt x="551" y="561"/>
                  </a:lnTo>
                  <a:lnTo>
                    <a:pt x="552" y="538"/>
                  </a:lnTo>
                  <a:lnTo>
                    <a:pt x="553" y="514"/>
                  </a:lnTo>
                  <a:lnTo>
                    <a:pt x="553" y="99"/>
                  </a:lnTo>
                  <a:lnTo>
                    <a:pt x="476" y="74"/>
                  </a:lnTo>
                  <a:lnTo>
                    <a:pt x="476" y="0"/>
                  </a:lnTo>
                  <a:lnTo>
                    <a:pt x="774" y="0"/>
                  </a:lnTo>
                  <a:lnTo>
                    <a:pt x="774" y="74"/>
                  </a:lnTo>
                  <a:lnTo>
                    <a:pt x="696" y="99"/>
                  </a:lnTo>
                  <a:lnTo>
                    <a:pt x="696" y="494"/>
                  </a:lnTo>
                  <a:lnTo>
                    <a:pt x="696" y="494"/>
                  </a:lnTo>
                  <a:lnTo>
                    <a:pt x="696" y="537"/>
                  </a:lnTo>
                  <a:lnTo>
                    <a:pt x="693" y="574"/>
                  </a:lnTo>
                  <a:lnTo>
                    <a:pt x="691" y="605"/>
                  </a:lnTo>
                  <a:lnTo>
                    <a:pt x="687" y="628"/>
                  </a:lnTo>
                  <a:lnTo>
                    <a:pt x="687" y="628"/>
                  </a:lnTo>
                  <a:lnTo>
                    <a:pt x="680" y="649"/>
                  </a:lnTo>
                  <a:lnTo>
                    <a:pt x="673" y="668"/>
                  </a:lnTo>
                  <a:lnTo>
                    <a:pt x="664" y="685"/>
                  </a:lnTo>
                  <a:lnTo>
                    <a:pt x="652" y="701"/>
                  </a:lnTo>
                  <a:lnTo>
                    <a:pt x="652" y="701"/>
                  </a:lnTo>
                  <a:lnTo>
                    <a:pt x="642" y="712"/>
                  </a:lnTo>
                  <a:lnTo>
                    <a:pt x="630" y="724"/>
                  </a:lnTo>
                  <a:lnTo>
                    <a:pt x="618" y="734"/>
                  </a:lnTo>
                  <a:lnTo>
                    <a:pt x="605" y="745"/>
                  </a:lnTo>
                  <a:lnTo>
                    <a:pt x="591" y="754"/>
                  </a:lnTo>
                  <a:lnTo>
                    <a:pt x="577" y="762"/>
                  </a:lnTo>
                  <a:lnTo>
                    <a:pt x="561" y="769"/>
                  </a:lnTo>
                  <a:lnTo>
                    <a:pt x="546" y="776"/>
                  </a:lnTo>
                  <a:lnTo>
                    <a:pt x="546" y="776"/>
                  </a:lnTo>
                  <a:lnTo>
                    <a:pt x="529" y="782"/>
                  </a:lnTo>
                  <a:lnTo>
                    <a:pt x="511" y="787"/>
                  </a:lnTo>
                  <a:lnTo>
                    <a:pt x="491" y="791"/>
                  </a:lnTo>
                  <a:lnTo>
                    <a:pt x="472" y="795"/>
                  </a:lnTo>
                  <a:lnTo>
                    <a:pt x="452" y="798"/>
                  </a:lnTo>
                  <a:lnTo>
                    <a:pt x="432" y="800"/>
                  </a:lnTo>
                  <a:lnTo>
                    <a:pt x="409" y="802"/>
                  </a:lnTo>
                  <a:lnTo>
                    <a:pt x="386" y="802"/>
                  </a:lnTo>
                  <a:lnTo>
                    <a:pt x="386" y="802"/>
                  </a:lnTo>
                  <a:lnTo>
                    <a:pt x="346" y="800"/>
                  </a:lnTo>
                  <a:lnTo>
                    <a:pt x="308" y="798"/>
                  </a:lnTo>
                  <a:lnTo>
                    <a:pt x="275" y="793"/>
                  </a:lnTo>
                  <a:lnTo>
                    <a:pt x="243" y="785"/>
                  </a:lnTo>
                  <a:lnTo>
                    <a:pt x="215" y="776"/>
                  </a:lnTo>
                  <a:lnTo>
                    <a:pt x="202" y="771"/>
                  </a:lnTo>
                  <a:lnTo>
                    <a:pt x="190" y="764"/>
                  </a:lnTo>
                  <a:lnTo>
                    <a:pt x="179" y="758"/>
                  </a:lnTo>
                  <a:lnTo>
                    <a:pt x="167" y="751"/>
                  </a:lnTo>
                  <a:lnTo>
                    <a:pt x="158" y="743"/>
                  </a:lnTo>
                  <a:lnTo>
                    <a:pt x="148" y="736"/>
                  </a:lnTo>
                  <a:lnTo>
                    <a:pt x="148" y="736"/>
                  </a:lnTo>
                  <a:lnTo>
                    <a:pt x="140" y="727"/>
                  </a:lnTo>
                  <a:lnTo>
                    <a:pt x="132" y="717"/>
                  </a:lnTo>
                  <a:lnTo>
                    <a:pt x="124" y="707"/>
                  </a:lnTo>
                  <a:lnTo>
                    <a:pt x="116" y="697"/>
                  </a:lnTo>
                  <a:lnTo>
                    <a:pt x="111" y="685"/>
                  </a:lnTo>
                  <a:lnTo>
                    <a:pt x="105" y="673"/>
                  </a:lnTo>
                  <a:lnTo>
                    <a:pt x="94" y="646"/>
                  </a:lnTo>
                  <a:lnTo>
                    <a:pt x="87" y="616"/>
                  </a:lnTo>
                  <a:lnTo>
                    <a:pt x="81" y="584"/>
                  </a:lnTo>
                  <a:lnTo>
                    <a:pt x="77" y="549"/>
                  </a:lnTo>
                  <a:lnTo>
                    <a:pt x="77" y="51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28"/>
            <p:cNvSpPr>
              <a:spLocks/>
            </p:cNvSpPr>
            <p:nvPr userDrawn="1"/>
          </p:nvSpPr>
          <p:spPr bwMode="auto">
            <a:xfrm>
              <a:off x="5423" y="1252"/>
              <a:ext cx="192" cy="262"/>
            </a:xfrm>
            <a:custGeom>
              <a:avLst/>
              <a:gdLst>
                <a:gd name="T0" fmla="*/ 575 w 575"/>
                <a:gd name="T1" fmla="*/ 786 h 786"/>
                <a:gd name="T2" fmla="*/ 0 w 575"/>
                <a:gd name="T3" fmla="*/ 786 h 786"/>
                <a:gd name="T4" fmla="*/ 0 w 575"/>
                <a:gd name="T5" fmla="*/ 711 h 786"/>
                <a:gd name="T6" fmla="*/ 78 w 575"/>
                <a:gd name="T7" fmla="*/ 688 h 786"/>
                <a:gd name="T8" fmla="*/ 78 w 575"/>
                <a:gd name="T9" fmla="*/ 99 h 786"/>
                <a:gd name="T10" fmla="*/ 0 w 575"/>
                <a:gd name="T11" fmla="*/ 74 h 786"/>
                <a:gd name="T12" fmla="*/ 0 w 575"/>
                <a:gd name="T13" fmla="*/ 0 h 786"/>
                <a:gd name="T14" fmla="*/ 326 w 575"/>
                <a:gd name="T15" fmla="*/ 0 h 786"/>
                <a:gd name="T16" fmla="*/ 326 w 575"/>
                <a:gd name="T17" fmla="*/ 74 h 786"/>
                <a:gd name="T18" fmla="*/ 248 w 575"/>
                <a:gd name="T19" fmla="*/ 99 h 786"/>
                <a:gd name="T20" fmla="*/ 248 w 575"/>
                <a:gd name="T21" fmla="*/ 688 h 786"/>
                <a:gd name="T22" fmla="*/ 400 w 575"/>
                <a:gd name="T23" fmla="*/ 688 h 786"/>
                <a:gd name="T24" fmla="*/ 441 w 575"/>
                <a:gd name="T25" fmla="*/ 585 h 786"/>
                <a:gd name="T26" fmla="*/ 575 w 575"/>
                <a:gd name="T27" fmla="*/ 585 h 786"/>
                <a:gd name="T28" fmla="*/ 575 w 575"/>
                <a:gd name="T29" fmla="*/ 786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5" h="786">
                  <a:moveTo>
                    <a:pt x="575" y="786"/>
                  </a:moveTo>
                  <a:lnTo>
                    <a:pt x="0" y="786"/>
                  </a:lnTo>
                  <a:lnTo>
                    <a:pt x="0" y="711"/>
                  </a:lnTo>
                  <a:lnTo>
                    <a:pt x="78" y="688"/>
                  </a:lnTo>
                  <a:lnTo>
                    <a:pt x="78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326" y="0"/>
                  </a:lnTo>
                  <a:lnTo>
                    <a:pt x="326" y="74"/>
                  </a:lnTo>
                  <a:lnTo>
                    <a:pt x="248" y="99"/>
                  </a:lnTo>
                  <a:lnTo>
                    <a:pt x="248" y="688"/>
                  </a:lnTo>
                  <a:lnTo>
                    <a:pt x="400" y="688"/>
                  </a:lnTo>
                  <a:lnTo>
                    <a:pt x="441" y="585"/>
                  </a:lnTo>
                  <a:lnTo>
                    <a:pt x="575" y="585"/>
                  </a:lnTo>
                  <a:lnTo>
                    <a:pt x="575" y="78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29"/>
            <p:cNvSpPr>
              <a:spLocks/>
            </p:cNvSpPr>
            <p:nvPr userDrawn="1"/>
          </p:nvSpPr>
          <p:spPr bwMode="auto">
            <a:xfrm>
              <a:off x="5423" y="1252"/>
              <a:ext cx="192" cy="262"/>
            </a:xfrm>
            <a:custGeom>
              <a:avLst/>
              <a:gdLst>
                <a:gd name="T0" fmla="*/ 575 w 575"/>
                <a:gd name="T1" fmla="*/ 786 h 786"/>
                <a:gd name="T2" fmla="*/ 0 w 575"/>
                <a:gd name="T3" fmla="*/ 786 h 786"/>
                <a:gd name="T4" fmla="*/ 0 w 575"/>
                <a:gd name="T5" fmla="*/ 711 h 786"/>
                <a:gd name="T6" fmla="*/ 78 w 575"/>
                <a:gd name="T7" fmla="*/ 688 h 786"/>
                <a:gd name="T8" fmla="*/ 78 w 575"/>
                <a:gd name="T9" fmla="*/ 99 h 786"/>
                <a:gd name="T10" fmla="*/ 0 w 575"/>
                <a:gd name="T11" fmla="*/ 74 h 786"/>
                <a:gd name="T12" fmla="*/ 0 w 575"/>
                <a:gd name="T13" fmla="*/ 0 h 786"/>
                <a:gd name="T14" fmla="*/ 326 w 575"/>
                <a:gd name="T15" fmla="*/ 0 h 786"/>
                <a:gd name="T16" fmla="*/ 326 w 575"/>
                <a:gd name="T17" fmla="*/ 74 h 786"/>
                <a:gd name="T18" fmla="*/ 248 w 575"/>
                <a:gd name="T19" fmla="*/ 99 h 786"/>
                <a:gd name="T20" fmla="*/ 248 w 575"/>
                <a:gd name="T21" fmla="*/ 688 h 786"/>
                <a:gd name="T22" fmla="*/ 400 w 575"/>
                <a:gd name="T23" fmla="*/ 688 h 786"/>
                <a:gd name="T24" fmla="*/ 441 w 575"/>
                <a:gd name="T25" fmla="*/ 585 h 786"/>
                <a:gd name="T26" fmla="*/ 575 w 575"/>
                <a:gd name="T27" fmla="*/ 585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5" h="786">
                  <a:moveTo>
                    <a:pt x="575" y="786"/>
                  </a:moveTo>
                  <a:lnTo>
                    <a:pt x="0" y="786"/>
                  </a:lnTo>
                  <a:lnTo>
                    <a:pt x="0" y="711"/>
                  </a:lnTo>
                  <a:lnTo>
                    <a:pt x="78" y="688"/>
                  </a:lnTo>
                  <a:lnTo>
                    <a:pt x="78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326" y="0"/>
                  </a:lnTo>
                  <a:lnTo>
                    <a:pt x="326" y="74"/>
                  </a:lnTo>
                  <a:lnTo>
                    <a:pt x="248" y="99"/>
                  </a:lnTo>
                  <a:lnTo>
                    <a:pt x="248" y="688"/>
                  </a:lnTo>
                  <a:lnTo>
                    <a:pt x="400" y="688"/>
                  </a:lnTo>
                  <a:lnTo>
                    <a:pt x="441" y="585"/>
                  </a:lnTo>
                  <a:lnTo>
                    <a:pt x="575" y="585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30"/>
            <p:cNvSpPr>
              <a:spLocks/>
            </p:cNvSpPr>
            <p:nvPr userDrawn="1"/>
          </p:nvSpPr>
          <p:spPr bwMode="auto">
            <a:xfrm>
              <a:off x="5172" y="1255"/>
              <a:ext cx="214" cy="265"/>
            </a:xfrm>
            <a:custGeom>
              <a:avLst/>
              <a:gdLst>
                <a:gd name="T0" fmla="*/ 0 w 641"/>
                <a:gd name="T1" fmla="*/ 395 h 795"/>
                <a:gd name="T2" fmla="*/ 402 w 641"/>
                <a:gd name="T3" fmla="*/ 0 h 795"/>
                <a:gd name="T4" fmla="*/ 639 w 641"/>
                <a:gd name="T5" fmla="*/ 0 h 795"/>
                <a:gd name="T6" fmla="*/ 236 w 641"/>
                <a:gd name="T7" fmla="*/ 393 h 795"/>
                <a:gd name="T8" fmla="*/ 641 w 641"/>
                <a:gd name="T9" fmla="*/ 795 h 795"/>
                <a:gd name="T10" fmla="*/ 402 w 641"/>
                <a:gd name="T11" fmla="*/ 795 h 795"/>
                <a:gd name="T12" fmla="*/ 0 w 641"/>
                <a:gd name="T13" fmla="*/ 395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1" h="795">
                  <a:moveTo>
                    <a:pt x="0" y="395"/>
                  </a:moveTo>
                  <a:lnTo>
                    <a:pt x="402" y="0"/>
                  </a:lnTo>
                  <a:lnTo>
                    <a:pt x="639" y="0"/>
                  </a:lnTo>
                  <a:lnTo>
                    <a:pt x="236" y="393"/>
                  </a:lnTo>
                  <a:lnTo>
                    <a:pt x="641" y="795"/>
                  </a:lnTo>
                  <a:lnTo>
                    <a:pt x="402" y="795"/>
                  </a:lnTo>
                  <a:lnTo>
                    <a:pt x="0" y="39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1"/>
            <p:cNvSpPr>
              <a:spLocks/>
            </p:cNvSpPr>
            <p:nvPr userDrawn="1"/>
          </p:nvSpPr>
          <p:spPr bwMode="auto">
            <a:xfrm>
              <a:off x="5529" y="1659"/>
              <a:ext cx="265" cy="213"/>
            </a:xfrm>
            <a:custGeom>
              <a:avLst/>
              <a:gdLst>
                <a:gd name="T0" fmla="*/ 394 w 795"/>
                <a:gd name="T1" fmla="*/ 639 h 639"/>
                <a:gd name="T2" fmla="*/ 0 w 795"/>
                <a:gd name="T3" fmla="*/ 237 h 639"/>
                <a:gd name="T4" fmla="*/ 0 w 795"/>
                <a:gd name="T5" fmla="*/ 0 h 639"/>
                <a:gd name="T6" fmla="*/ 393 w 795"/>
                <a:gd name="T7" fmla="*/ 404 h 639"/>
                <a:gd name="T8" fmla="*/ 795 w 795"/>
                <a:gd name="T9" fmla="*/ 0 h 639"/>
                <a:gd name="T10" fmla="*/ 795 w 795"/>
                <a:gd name="T11" fmla="*/ 237 h 639"/>
                <a:gd name="T12" fmla="*/ 394 w 795"/>
                <a:gd name="T13" fmla="*/ 639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5" h="639">
                  <a:moveTo>
                    <a:pt x="394" y="639"/>
                  </a:moveTo>
                  <a:lnTo>
                    <a:pt x="0" y="237"/>
                  </a:lnTo>
                  <a:lnTo>
                    <a:pt x="0" y="0"/>
                  </a:lnTo>
                  <a:lnTo>
                    <a:pt x="393" y="404"/>
                  </a:lnTo>
                  <a:lnTo>
                    <a:pt x="795" y="0"/>
                  </a:lnTo>
                  <a:lnTo>
                    <a:pt x="795" y="237"/>
                  </a:lnTo>
                  <a:lnTo>
                    <a:pt x="394" y="63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2"/>
            <p:cNvSpPr>
              <a:spLocks/>
            </p:cNvSpPr>
            <p:nvPr userDrawn="1"/>
          </p:nvSpPr>
          <p:spPr bwMode="auto">
            <a:xfrm>
              <a:off x="5529" y="892"/>
              <a:ext cx="265" cy="213"/>
            </a:xfrm>
            <a:custGeom>
              <a:avLst/>
              <a:gdLst>
                <a:gd name="T0" fmla="*/ 401 w 795"/>
                <a:gd name="T1" fmla="*/ 0 h 638"/>
                <a:gd name="T2" fmla="*/ 795 w 795"/>
                <a:gd name="T3" fmla="*/ 399 h 638"/>
                <a:gd name="T4" fmla="*/ 795 w 795"/>
                <a:gd name="T5" fmla="*/ 638 h 638"/>
                <a:gd name="T6" fmla="*/ 402 w 795"/>
                <a:gd name="T7" fmla="*/ 235 h 638"/>
                <a:gd name="T8" fmla="*/ 0 w 795"/>
                <a:gd name="T9" fmla="*/ 638 h 638"/>
                <a:gd name="T10" fmla="*/ 0 w 795"/>
                <a:gd name="T11" fmla="*/ 399 h 638"/>
                <a:gd name="T12" fmla="*/ 401 w 795"/>
                <a:gd name="T13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5" h="638">
                  <a:moveTo>
                    <a:pt x="401" y="0"/>
                  </a:moveTo>
                  <a:lnTo>
                    <a:pt x="795" y="399"/>
                  </a:lnTo>
                  <a:lnTo>
                    <a:pt x="795" y="638"/>
                  </a:lnTo>
                  <a:lnTo>
                    <a:pt x="402" y="235"/>
                  </a:lnTo>
                  <a:lnTo>
                    <a:pt x="0" y="638"/>
                  </a:lnTo>
                  <a:lnTo>
                    <a:pt x="0" y="399"/>
                  </a:lnTo>
                  <a:lnTo>
                    <a:pt x="40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8" name="Group 35"/>
          <p:cNvGrpSpPr>
            <a:grpSpLocks noChangeAspect="1"/>
          </p:cNvGrpSpPr>
          <p:nvPr userDrawn="1"/>
        </p:nvGrpSpPr>
        <p:grpSpPr bwMode="auto">
          <a:xfrm>
            <a:off x="609601" y="849169"/>
            <a:ext cx="2507458" cy="3026386"/>
            <a:chOff x="2363" y="293"/>
            <a:chExt cx="1208" cy="1458"/>
          </a:xfrm>
        </p:grpSpPr>
        <p:sp>
          <p:nvSpPr>
            <p:cNvPr id="109" name="Freeform 36"/>
            <p:cNvSpPr>
              <a:spLocks/>
            </p:cNvSpPr>
            <p:nvPr userDrawn="1"/>
          </p:nvSpPr>
          <p:spPr bwMode="auto">
            <a:xfrm>
              <a:off x="2943" y="1403"/>
              <a:ext cx="130" cy="117"/>
            </a:xfrm>
            <a:custGeom>
              <a:avLst/>
              <a:gdLst>
                <a:gd name="T0" fmla="*/ 130 w 130"/>
                <a:gd name="T1" fmla="*/ 0 h 117"/>
                <a:gd name="T2" fmla="*/ 129 w 130"/>
                <a:gd name="T3" fmla="*/ 0 h 117"/>
                <a:gd name="T4" fmla="*/ 0 w 130"/>
                <a:gd name="T5" fmla="*/ 11 h 117"/>
                <a:gd name="T6" fmla="*/ 74 w 130"/>
                <a:gd name="T7" fmla="*/ 117 h 117"/>
                <a:gd name="T8" fmla="*/ 74 w 130"/>
                <a:gd name="T9" fmla="*/ 117 h 117"/>
                <a:gd name="T10" fmla="*/ 130 w 130"/>
                <a:gd name="T1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117">
                  <a:moveTo>
                    <a:pt x="130" y="0"/>
                  </a:moveTo>
                  <a:lnTo>
                    <a:pt x="129" y="0"/>
                  </a:lnTo>
                  <a:lnTo>
                    <a:pt x="0" y="11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130" y="0"/>
                  </a:lnTo>
                  <a:close/>
                </a:path>
              </a:pathLst>
            </a:custGeom>
            <a:solidFill>
              <a:srgbClr val="124F9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37"/>
            <p:cNvSpPr>
              <a:spLocks/>
            </p:cNvSpPr>
            <p:nvPr userDrawn="1"/>
          </p:nvSpPr>
          <p:spPr bwMode="auto">
            <a:xfrm>
              <a:off x="2943" y="1403"/>
              <a:ext cx="130" cy="117"/>
            </a:xfrm>
            <a:custGeom>
              <a:avLst/>
              <a:gdLst>
                <a:gd name="T0" fmla="*/ 130 w 130"/>
                <a:gd name="T1" fmla="*/ 0 h 117"/>
                <a:gd name="T2" fmla="*/ 129 w 130"/>
                <a:gd name="T3" fmla="*/ 0 h 117"/>
                <a:gd name="T4" fmla="*/ 0 w 130"/>
                <a:gd name="T5" fmla="*/ 11 h 117"/>
                <a:gd name="T6" fmla="*/ 74 w 130"/>
                <a:gd name="T7" fmla="*/ 117 h 117"/>
                <a:gd name="T8" fmla="*/ 74 w 130"/>
                <a:gd name="T9" fmla="*/ 117 h 117"/>
                <a:gd name="T10" fmla="*/ 130 w 130"/>
                <a:gd name="T1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117">
                  <a:moveTo>
                    <a:pt x="130" y="0"/>
                  </a:moveTo>
                  <a:lnTo>
                    <a:pt x="129" y="0"/>
                  </a:lnTo>
                  <a:lnTo>
                    <a:pt x="0" y="11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13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38"/>
            <p:cNvSpPr>
              <a:spLocks/>
            </p:cNvSpPr>
            <p:nvPr userDrawn="1"/>
          </p:nvSpPr>
          <p:spPr bwMode="auto">
            <a:xfrm>
              <a:off x="3194" y="1021"/>
              <a:ext cx="83" cy="84"/>
            </a:xfrm>
            <a:custGeom>
              <a:avLst/>
              <a:gdLst>
                <a:gd name="T0" fmla="*/ 26 w 83"/>
                <a:gd name="T1" fmla="*/ 0 h 84"/>
                <a:gd name="T2" fmla="*/ 0 w 83"/>
                <a:gd name="T3" fmla="*/ 57 h 84"/>
                <a:gd name="T4" fmla="*/ 57 w 83"/>
                <a:gd name="T5" fmla="*/ 84 h 84"/>
                <a:gd name="T6" fmla="*/ 57 w 83"/>
                <a:gd name="T7" fmla="*/ 84 h 84"/>
                <a:gd name="T8" fmla="*/ 83 w 83"/>
                <a:gd name="T9" fmla="*/ 26 h 84"/>
                <a:gd name="T10" fmla="*/ 26 w 83"/>
                <a:gd name="T11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26" y="0"/>
                  </a:moveTo>
                  <a:lnTo>
                    <a:pt x="0" y="57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83" y="26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3D649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39"/>
            <p:cNvSpPr>
              <a:spLocks/>
            </p:cNvSpPr>
            <p:nvPr userDrawn="1"/>
          </p:nvSpPr>
          <p:spPr bwMode="auto">
            <a:xfrm>
              <a:off x="3194" y="1021"/>
              <a:ext cx="83" cy="84"/>
            </a:xfrm>
            <a:custGeom>
              <a:avLst/>
              <a:gdLst>
                <a:gd name="T0" fmla="*/ 26 w 83"/>
                <a:gd name="T1" fmla="*/ 0 h 84"/>
                <a:gd name="T2" fmla="*/ 0 w 83"/>
                <a:gd name="T3" fmla="*/ 57 h 84"/>
                <a:gd name="T4" fmla="*/ 57 w 83"/>
                <a:gd name="T5" fmla="*/ 84 h 84"/>
                <a:gd name="T6" fmla="*/ 57 w 83"/>
                <a:gd name="T7" fmla="*/ 84 h 84"/>
                <a:gd name="T8" fmla="*/ 83 w 83"/>
                <a:gd name="T9" fmla="*/ 26 h 84"/>
                <a:gd name="T10" fmla="*/ 26 w 83"/>
                <a:gd name="T11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26" y="0"/>
                  </a:moveTo>
                  <a:lnTo>
                    <a:pt x="0" y="57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83" y="26"/>
                  </a:lnTo>
                  <a:lnTo>
                    <a:pt x="2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41"/>
            <p:cNvSpPr>
              <a:spLocks/>
            </p:cNvSpPr>
            <p:nvPr userDrawn="1"/>
          </p:nvSpPr>
          <p:spPr bwMode="auto">
            <a:xfrm>
              <a:off x="2796" y="1709"/>
              <a:ext cx="43" cy="42"/>
            </a:xfrm>
            <a:custGeom>
              <a:avLst/>
              <a:gdLst>
                <a:gd name="T0" fmla="*/ 5 w 43"/>
                <a:gd name="T1" fmla="*/ 0 h 42"/>
                <a:gd name="T2" fmla="*/ 5 w 43"/>
                <a:gd name="T3" fmla="*/ 0 h 42"/>
                <a:gd name="T4" fmla="*/ 0 w 43"/>
                <a:gd name="T5" fmla="*/ 38 h 42"/>
                <a:gd name="T6" fmla="*/ 38 w 43"/>
                <a:gd name="T7" fmla="*/ 42 h 42"/>
                <a:gd name="T8" fmla="*/ 43 w 43"/>
                <a:gd name="T9" fmla="*/ 5 h 42"/>
                <a:gd name="T10" fmla="*/ 43 w 43"/>
                <a:gd name="T11" fmla="*/ 5 h 42"/>
                <a:gd name="T12" fmla="*/ 5 w 43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42">
                  <a:moveTo>
                    <a:pt x="5" y="0"/>
                  </a:moveTo>
                  <a:lnTo>
                    <a:pt x="5" y="0"/>
                  </a:lnTo>
                  <a:lnTo>
                    <a:pt x="0" y="38"/>
                  </a:lnTo>
                  <a:lnTo>
                    <a:pt x="38" y="42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5" y="0"/>
                  </a:lnTo>
                </a:path>
              </a:pathLst>
            </a:custGeom>
            <a:solidFill>
              <a:srgbClr val="14509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42"/>
            <p:cNvSpPr>
              <a:spLocks/>
            </p:cNvSpPr>
            <p:nvPr userDrawn="1"/>
          </p:nvSpPr>
          <p:spPr bwMode="auto">
            <a:xfrm>
              <a:off x="2363" y="293"/>
              <a:ext cx="86" cy="79"/>
            </a:xfrm>
            <a:custGeom>
              <a:avLst/>
              <a:gdLst>
                <a:gd name="T0" fmla="*/ 0 w 86"/>
                <a:gd name="T1" fmla="*/ 0 h 79"/>
                <a:gd name="T2" fmla="*/ 0 w 86"/>
                <a:gd name="T3" fmla="*/ 0 h 79"/>
                <a:gd name="T4" fmla="*/ 37 w 86"/>
                <a:gd name="T5" fmla="*/ 79 h 79"/>
                <a:gd name="T6" fmla="*/ 37 w 86"/>
                <a:gd name="T7" fmla="*/ 79 h 79"/>
                <a:gd name="T8" fmla="*/ 86 w 86"/>
                <a:gd name="T9" fmla="*/ 7 h 79"/>
                <a:gd name="T10" fmla="*/ 0 w 86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79">
                  <a:moveTo>
                    <a:pt x="0" y="0"/>
                  </a:moveTo>
                  <a:lnTo>
                    <a:pt x="0" y="0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86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D458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43"/>
            <p:cNvSpPr>
              <a:spLocks/>
            </p:cNvSpPr>
            <p:nvPr userDrawn="1"/>
          </p:nvSpPr>
          <p:spPr bwMode="auto">
            <a:xfrm>
              <a:off x="2363" y="293"/>
              <a:ext cx="86" cy="79"/>
            </a:xfrm>
            <a:custGeom>
              <a:avLst/>
              <a:gdLst>
                <a:gd name="T0" fmla="*/ 0 w 86"/>
                <a:gd name="T1" fmla="*/ 0 h 79"/>
                <a:gd name="T2" fmla="*/ 0 w 86"/>
                <a:gd name="T3" fmla="*/ 0 h 79"/>
                <a:gd name="T4" fmla="*/ 37 w 86"/>
                <a:gd name="T5" fmla="*/ 79 h 79"/>
                <a:gd name="T6" fmla="*/ 37 w 86"/>
                <a:gd name="T7" fmla="*/ 79 h 79"/>
                <a:gd name="T8" fmla="*/ 86 w 86"/>
                <a:gd name="T9" fmla="*/ 7 h 79"/>
                <a:gd name="T10" fmla="*/ 0 w 86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79">
                  <a:moveTo>
                    <a:pt x="0" y="0"/>
                  </a:moveTo>
                  <a:lnTo>
                    <a:pt x="0" y="0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86" y="7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44"/>
            <p:cNvSpPr>
              <a:spLocks/>
            </p:cNvSpPr>
            <p:nvPr userDrawn="1"/>
          </p:nvSpPr>
          <p:spPr bwMode="auto">
            <a:xfrm>
              <a:off x="2771" y="366"/>
              <a:ext cx="66" cy="62"/>
            </a:xfrm>
            <a:custGeom>
              <a:avLst/>
              <a:gdLst>
                <a:gd name="T0" fmla="*/ 48 w 90"/>
                <a:gd name="T1" fmla="*/ 0 h 84"/>
                <a:gd name="T2" fmla="*/ 30 w 90"/>
                <a:gd name="T3" fmla="*/ 4 h 84"/>
                <a:gd name="T4" fmla="*/ 10 w 90"/>
                <a:gd name="T5" fmla="*/ 60 h 84"/>
                <a:gd name="T6" fmla="*/ 48 w 90"/>
                <a:gd name="T7" fmla="*/ 84 h 84"/>
                <a:gd name="T8" fmla="*/ 49 w 90"/>
                <a:gd name="T9" fmla="*/ 84 h 84"/>
                <a:gd name="T10" fmla="*/ 66 w 90"/>
                <a:gd name="T11" fmla="*/ 80 h 84"/>
                <a:gd name="T12" fmla="*/ 90 w 90"/>
                <a:gd name="T13" fmla="*/ 43 h 84"/>
                <a:gd name="T14" fmla="*/ 90 w 90"/>
                <a:gd name="T15" fmla="*/ 41 h 84"/>
                <a:gd name="T16" fmla="*/ 86 w 90"/>
                <a:gd name="T17" fmla="*/ 24 h 84"/>
                <a:gd name="T18" fmla="*/ 48 w 90"/>
                <a:gd name="T1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4">
                  <a:moveTo>
                    <a:pt x="48" y="0"/>
                  </a:moveTo>
                  <a:cubicBezTo>
                    <a:pt x="42" y="0"/>
                    <a:pt x="36" y="1"/>
                    <a:pt x="30" y="4"/>
                  </a:cubicBezTo>
                  <a:cubicBezTo>
                    <a:pt x="9" y="14"/>
                    <a:pt x="0" y="39"/>
                    <a:pt x="10" y="60"/>
                  </a:cubicBezTo>
                  <a:cubicBezTo>
                    <a:pt x="17" y="75"/>
                    <a:pt x="32" y="84"/>
                    <a:pt x="48" y="84"/>
                  </a:cubicBezTo>
                  <a:cubicBezTo>
                    <a:pt x="49" y="84"/>
                    <a:pt x="49" y="84"/>
                    <a:pt x="49" y="84"/>
                  </a:cubicBezTo>
                  <a:cubicBezTo>
                    <a:pt x="55" y="84"/>
                    <a:pt x="61" y="83"/>
                    <a:pt x="66" y="80"/>
                  </a:cubicBezTo>
                  <a:cubicBezTo>
                    <a:pt x="81" y="73"/>
                    <a:pt x="90" y="59"/>
                    <a:pt x="90" y="43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90" y="35"/>
                    <a:pt x="89" y="30"/>
                    <a:pt x="86" y="24"/>
                  </a:cubicBezTo>
                  <a:cubicBezTo>
                    <a:pt x="79" y="9"/>
                    <a:pt x="64" y="0"/>
                    <a:pt x="48" y="0"/>
                  </a:cubicBezTo>
                </a:path>
              </a:pathLst>
            </a:custGeom>
            <a:solidFill>
              <a:srgbClr val="5988C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45"/>
            <p:cNvSpPr>
              <a:spLocks/>
            </p:cNvSpPr>
            <p:nvPr userDrawn="1"/>
          </p:nvSpPr>
          <p:spPr bwMode="auto">
            <a:xfrm>
              <a:off x="2585" y="539"/>
              <a:ext cx="41" cy="41"/>
            </a:xfrm>
            <a:custGeom>
              <a:avLst/>
              <a:gdLst>
                <a:gd name="T0" fmla="*/ 28 w 41"/>
                <a:gd name="T1" fmla="*/ 0 h 41"/>
                <a:gd name="T2" fmla="*/ 28 w 41"/>
                <a:gd name="T3" fmla="*/ 0 h 41"/>
                <a:gd name="T4" fmla="*/ 0 w 41"/>
                <a:gd name="T5" fmla="*/ 13 h 41"/>
                <a:gd name="T6" fmla="*/ 13 w 41"/>
                <a:gd name="T7" fmla="*/ 41 h 41"/>
                <a:gd name="T8" fmla="*/ 13 w 41"/>
                <a:gd name="T9" fmla="*/ 41 h 41"/>
                <a:gd name="T10" fmla="*/ 41 w 41"/>
                <a:gd name="T11" fmla="*/ 28 h 41"/>
                <a:gd name="T12" fmla="*/ 41 w 41"/>
                <a:gd name="T13" fmla="*/ 28 h 41"/>
                <a:gd name="T14" fmla="*/ 28 w 41"/>
                <a:gd name="T1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41">
                  <a:moveTo>
                    <a:pt x="28" y="0"/>
                  </a:moveTo>
                  <a:lnTo>
                    <a:pt x="28" y="0"/>
                  </a:lnTo>
                  <a:lnTo>
                    <a:pt x="0" y="13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4C60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46"/>
            <p:cNvSpPr>
              <a:spLocks/>
            </p:cNvSpPr>
            <p:nvPr userDrawn="1"/>
          </p:nvSpPr>
          <p:spPr bwMode="auto">
            <a:xfrm>
              <a:off x="2585" y="539"/>
              <a:ext cx="41" cy="41"/>
            </a:xfrm>
            <a:custGeom>
              <a:avLst/>
              <a:gdLst>
                <a:gd name="T0" fmla="*/ 28 w 41"/>
                <a:gd name="T1" fmla="*/ 0 h 41"/>
                <a:gd name="T2" fmla="*/ 28 w 41"/>
                <a:gd name="T3" fmla="*/ 0 h 41"/>
                <a:gd name="T4" fmla="*/ 0 w 41"/>
                <a:gd name="T5" fmla="*/ 13 h 41"/>
                <a:gd name="T6" fmla="*/ 13 w 41"/>
                <a:gd name="T7" fmla="*/ 41 h 41"/>
                <a:gd name="T8" fmla="*/ 13 w 41"/>
                <a:gd name="T9" fmla="*/ 41 h 41"/>
                <a:gd name="T10" fmla="*/ 41 w 41"/>
                <a:gd name="T11" fmla="*/ 28 h 41"/>
                <a:gd name="T12" fmla="*/ 41 w 41"/>
                <a:gd name="T13" fmla="*/ 28 h 41"/>
                <a:gd name="T14" fmla="*/ 28 w 41"/>
                <a:gd name="T1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41">
                  <a:moveTo>
                    <a:pt x="28" y="0"/>
                  </a:moveTo>
                  <a:lnTo>
                    <a:pt x="28" y="0"/>
                  </a:lnTo>
                  <a:lnTo>
                    <a:pt x="0" y="13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28" y="0"/>
                  </a:lnTo>
                </a:path>
              </a:pathLst>
            </a:custGeom>
            <a:solidFill>
              <a:srgbClr val="1A63B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47"/>
            <p:cNvSpPr>
              <a:spLocks/>
            </p:cNvSpPr>
            <p:nvPr userDrawn="1"/>
          </p:nvSpPr>
          <p:spPr bwMode="auto">
            <a:xfrm>
              <a:off x="2566" y="886"/>
              <a:ext cx="58" cy="59"/>
            </a:xfrm>
            <a:custGeom>
              <a:avLst/>
              <a:gdLst>
                <a:gd name="T0" fmla="*/ 27 w 58"/>
                <a:gd name="T1" fmla="*/ 0 h 59"/>
                <a:gd name="T2" fmla="*/ 27 w 58"/>
                <a:gd name="T3" fmla="*/ 0 h 59"/>
                <a:gd name="T4" fmla="*/ 0 w 58"/>
                <a:gd name="T5" fmla="*/ 31 h 59"/>
                <a:gd name="T6" fmla="*/ 30 w 58"/>
                <a:gd name="T7" fmla="*/ 59 h 59"/>
                <a:gd name="T8" fmla="*/ 58 w 58"/>
                <a:gd name="T9" fmla="*/ 27 h 59"/>
                <a:gd name="T10" fmla="*/ 27 w 58"/>
                <a:gd name="T1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59">
                  <a:moveTo>
                    <a:pt x="27" y="0"/>
                  </a:moveTo>
                  <a:lnTo>
                    <a:pt x="27" y="0"/>
                  </a:lnTo>
                  <a:lnTo>
                    <a:pt x="0" y="31"/>
                  </a:lnTo>
                  <a:lnTo>
                    <a:pt x="30" y="59"/>
                  </a:lnTo>
                  <a:lnTo>
                    <a:pt x="58" y="27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1E69B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48"/>
            <p:cNvSpPr>
              <a:spLocks/>
            </p:cNvSpPr>
            <p:nvPr userDrawn="1"/>
          </p:nvSpPr>
          <p:spPr bwMode="auto">
            <a:xfrm>
              <a:off x="2566" y="886"/>
              <a:ext cx="58" cy="59"/>
            </a:xfrm>
            <a:custGeom>
              <a:avLst/>
              <a:gdLst>
                <a:gd name="T0" fmla="*/ 27 w 58"/>
                <a:gd name="T1" fmla="*/ 0 h 59"/>
                <a:gd name="T2" fmla="*/ 27 w 58"/>
                <a:gd name="T3" fmla="*/ 0 h 59"/>
                <a:gd name="T4" fmla="*/ 0 w 58"/>
                <a:gd name="T5" fmla="*/ 31 h 59"/>
                <a:gd name="T6" fmla="*/ 30 w 58"/>
                <a:gd name="T7" fmla="*/ 59 h 59"/>
                <a:gd name="T8" fmla="*/ 58 w 58"/>
                <a:gd name="T9" fmla="*/ 27 h 59"/>
                <a:gd name="T10" fmla="*/ 27 w 58"/>
                <a:gd name="T1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59">
                  <a:moveTo>
                    <a:pt x="27" y="0"/>
                  </a:moveTo>
                  <a:lnTo>
                    <a:pt x="27" y="0"/>
                  </a:lnTo>
                  <a:lnTo>
                    <a:pt x="0" y="31"/>
                  </a:lnTo>
                  <a:lnTo>
                    <a:pt x="30" y="59"/>
                  </a:lnTo>
                  <a:lnTo>
                    <a:pt x="58" y="27"/>
                  </a:lnTo>
                  <a:lnTo>
                    <a:pt x="27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49"/>
            <p:cNvSpPr>
              <a:spLocks/>
            </p:cNvSpPr>
            <p:nvPr userDrawn="1"/>
          </p:nvSpPr>
          <p:spPr bwMode="auto">
            <a:xfrm>
              <a:off x="2948" y="769"/>
              <a:ext cx="53" cy="54"/>
            </a:xfrm>
            <a:custGeom>
              <a:avLst/>
              <a:gdLst>
                <a:gd name="T0" fmla="*/ 10 w 53"/>
                <a:gd name="T1" fmla="*/ 0 h 54"/>
                <a:gd name="T2" fmla="*/ 10 w 53"/>
                <a:gd name="T3" fmla="*/ 0 h 54"/>
                <a:gd name="T4" fmla="*/ 0 w 53"/>
                <a:gd name="T5" fmla="*/ 43 h 54"/>
                <a:gd name="T6" fmla="*/ 0 w 53"/>
                <a:gd name="T7" fmla="*/ 43 h 54"/>
                <a:gd name="T8" fmla="*/ 43 w 53"/>
                <a:gd name="T9" fmla="*/ 54 h 54"/>
                <a:gd name="T10" fmla="*/ 53 w 53"/>
                <a:gd name="T11" fmla="*/ 11 h 54"/>
                <a:gd name="T12" fmla="*/ 10 w 53"/>
                <a:gd name="T1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54">
                  <a:moveTo>
                    <a:pt x="10" y="0"/>
                  </a:moveTo>
                  <a:lnTo>
                    <a:pt x="10" y="0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43" y="54"/>
                  </a:lnTo>
                  <a:lnTo>
                    <a:pt x="53" y="11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15559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50"/>
            <p:cNvSpPr>
              <a:spLocks/>
            </p:cNvSpPr>
            <p:nvPr userDrawn="1"/>
          </p:nvSpPr>
          <p:spPr bwMode="auto">
            <a:xfrm>
              <a:off x="2948" y="769"/>
              <a:ext cx="53" cy="54"/>
            </a:xfrm>
            <a:custGeom>
              <a:avLst/>
              <a:gdLst>
                <a:gd name="T0" fmla="*/ 10 w 53"/>
                <a:gd name="T1" fmla="*/ 0 h 54"/>
                <a:gd name="T2" fmla="*/ 10 w 53"/>
                <a:gd name="T3" fmla="*/ 0 h 54"/>
                <a:gd name="T4" fmla="*/ 0 w 53"/>
                <a:gd name="T5" fmla="*/ 43 h 54"/>
                <a:gd name="T6" fmla="*/ 0 w 53"/>
                <a:gd name="T7" fmla="*/ 43 h 54"/>
                <a:gd name="T8" fmla="*/ 43 w 53"/>
                <a:gd name="T9" fmla="*/ 54 h 54"/>
                <a:gd name="T10" fmla="*/ 53 w 53"/>
                <a:gd name="T11" fmla="*/ 11 h 54"/>
                <a:gd name="T12" fmla="*/ 10 w 53"/>
                <a:gd name="T1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54">
                  <a:moveTo>
                    <a:pt x="10" y="0"/>
                  </a:moveTo>
                  <a:lnTo>
                    <a:pt x="10" y="0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43" y="54"/>
                  </a:lnTo>
                  <a:lnTo>
                    <a:pt x="53" y="11"/>
                  </a:lnTo>
                  <a:lnTo>
                    <a:pt x="1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51"/>
            <p:cNvSpPr>
              <a:spLocks noEditPoints="1"/>
            </p:cNvSpPr>
            <p:nvPr userDrawn="1"/>
          </p:nvSpPr>
          <p:spPr bwMode="auto">
            <a:xfrm>
              <a:off x="3034" y="648"/>
              <a:ext cx="109" cy="101"/>
            </a:xfrm>
            <a:custGeom>
              <a:avLst/>
              <a:gdLst>
                <a:gd name="T0" fmla="*/ 92 w 147"/>
                <a:gd name="T1" fmla="*/ 102 h 137"/>
                <a:gd name="T2" fmla="*/ 90 w 147"/>
                <a:gd name="T3" fmla="*/ 94 h 137"/>
                <a:gd name="T4" fmla="*/ 100 w 147"/>
                <a:gd name="T5" fmla="*/ 88 h 137"/>
                <a:gd name="T6" fmla="*/ 104 w 147"/>
                <a:gd name="T7" fmla="*/ 110 h 137"/>
                <a:gd name="T8" fmla="*/ 66 w 147"/>
                <a:gd name="T9" fmla="*/ 115 h 137"/>
                <a:gd name="T10" fmla="*/ 44 w 147"/>
                <a:gd name="T11" fmla="*/ 79 h 137"/>
                <a:gd name="T12" fmla="*/ 56 w 147"/>
                <a:gd name="T13" fmla="*/ 81 h 137"/>
                <a:gd name="T14" fmla="*/ 77 w 147"/>
                <a:gd name="T15" fmla="*/ 97 h 137"/>
                <a:gd name="T16" fmla="*/ 84 w 147"/>
                <a:gd name="T17" fmla="*/ 107 h 137"/>
                <a:gd name="T18" fmla="*/ 101 w 147"/>
                <a:gd name="T19" fmla="*/ 112 h 137"/>
                <a:gd name="T20" fmla="*/ 79 w 147"/>
                <a:gd name="T21" fmla="*/ 93 h 137"/>
                <a:gd name="T22" fmla="*/ 54 w 147"/>
                <a:gd name="T23" fmla="*/ 74 h 137"/>
                <a:gd name="T24" fmla="*/ 77 w 147"/>
                <a:gd name="T25" fmla="*/ 76 h 137"/>
                <a:gd name="T26" fmla="*/ 85 w 147"/>
                <a:gd name="T27" fmla="*/ 74 h 137"/>
                <a:gd name="T28" fmla="*/ 92 w 147"/>
                <a:gd name="T29" fmla="*/ 86 h 137"/>
                <a:gd name="T30" fmla="*/ 86 w 147"/>
                <a:gd name="T31" fmla="*/ 92 h 137"/>
                <a:gd name="T32" fmla="*/ 79 w 147"/>
                <a:gd name="T33" fmla="*/ 93 h 137"/>
                <a:gd name="T34" fmla="*/ 86 w 147"/>
                <a:gd name="T35" fmla="*/ 70 h 137"/>
                <a:gd name="T36" fmla="*/ 93 w 147"/>
                <a:gd name="T37" fmla="*/ 58 h 137"/>
                <a:gd name="T38" fmla="*/ 97 w 147"/>
                <a:gd name="T39" fmla="*/ 59 h 137"/>
                <a:gd name="T40" fmla="*/ 93 w 147"/>
                <a:gd name="T41" fmla="*/ 73 h 137"/>
                <a:gd name="T42" fmla="*/ 52 w 147"/>
                <a:gd name="T43" fmla="*/ 69 h 137"/>
                <a:gd name="T44" fmla="*/ 63 w 147"/>
                <a:gd name="T45" fmla="*/ 46 h 137"/>
                <a:gd name="T46" fmla="*/ 75 w 147"/>
                <a:gd name="T47" fmla="*/ 44 h 137"/>
                <a:gd name="T48" fmla="*/ 91 w 147"/>
                <a:gd name="T49" fmla="*/ 55 h 137"/>
                <a:gd name="T50" fmla="*/ 81 w 147"/>
                <a:gd name="T51" fmla="*/ 61 h 137"/>
                <a:gd name="T52" fmla="*/ 71 w 147"/>
                <a:gd name="T53" fmla="*/ 67 h 137"/>
                <a:gd name="T54" fmla="*/ 53 w 147"/>
                <a:gd name="T55" fmla="*/ 71 h 137"/>
                <a:gd name="T56" fmla="*/ 100 w 147"/>
                <a:gd name="T57" fmla="*/ 59 h 137"/>
                <a:gd name="T58" fmla="*/ 104 w 147"/>
                <a:gd name="T59" fmla="*/ 44 h 137"/>
                <a:gd name="T60" fmla="*/ 125 w 147"/>
                <a:gd name="T61" fmla="*/ 81 h 137"/>
                <a:gd name="T62" fmla="*/ 104 w 147"/>
                <a:gd name="T63" fmla="*/ 87 h 137"/>
                <a:gd name="T64" fmla="*/ 106 w 147"/>
                <a:gd name="T65" fmla="*/ 72 h 137"/>
                <a:gd name="T66" fmla="*/ 91 w 147"/>
                <a:gd name="T67" fmla="*/ 46 h 137"/>
                <a:gd name="T68" fmla="*/ 75 w 147"/>
                <a:gd name="T69" fmla="*/ 35 h 137"/>
                <a:gd name="T70" fmla="*/ 108 w 147"/>
                <a:gd name="T71" fmla="*/ 31 h 137"/>
                <a:gd name="T72" fmla="*/ 101 w 147"/>
                <a:gd name="T73" fmla="*/ 42 h 137"/>
                <a:gd name="T74" fmla="*/ 91 w 147"/>
                <a:gd name="T75" fmla="*/ 46 h 137"/>
                <a:gd name="T76" fmla="*/ 32 w 147"/>
                <a:gd name="T77" fmla="*/ 56 h 137"/>
                <a:gd name="T78" fmla="*/ 59 w 147"/>
                <a:gd name="T79" fmla="*/ 30 h 137"/>
                <a:gd name="T80" fmla="*/ 59 w 147"/>
                <a:gd name="T81" fmla="*/ 46 h 137"/>
                <a:gd name="T82" fmla="*/ 51 w 147"/>
                <a:gd name="T83" fmla="*/ 65 h 137"/>
                <a:gd name="T84" fmla="*/ 38 w 147"/>
                <a:gd name="T85" fmla="*/ 78 h 137"/>
                <a:gd name="T86" fmla="*/ 34 w 147"/>
                <a:gd name="T87" fmla="*/ 86 h 137"/>
                <a:gd name="T88" fmla="*/ 60 w 147"/>
                <a:gd name="T89" fmla="*/ 24 h 137"/>
                <a:gd name="T90" fmla="*/ 91 w 147"/>
                <a:gd name="T91" fmla="*/ 22 h 137"/>
                <a:gd name="T92" fmla="*/ 74 w 147"/>
                <a:gd name="T93" fmla="*/ 31 h 137"/>
                <a:gd name="T94" fmla="*/ 63 w 147"/>
                <a:gd name="T95" fmla="*/ 29 h 137"/>
                <a:gd name="T96" fmla="*/ 16 w 147"/>
                <a:gd name="T97" fmla="*/ 39 h 137"/>
                <a:gd name="T98" fmla="*/ 77 w 147"/>
                <a:gd name="T99" fmla="*/ 137 h 137"/>
                <a:gd name="T100" fmla="*/ 140 w 147"/>
                <a:gd name="T101" fmla="*/ 98 h 137"/>
                <a:gd name="T102" fmla="*/ 147 w 147"/>
                <a:gd name="T103" fmla="*/ 68 h 137"/>
                <a:gd name="T104" fmla="*/ 78 w 147"/>
                <a:gd name="T105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7" h="137">
                  <a:moveTo>
                    <a:pt x="104" y="110"/>
                  </a:moveTo>
                  <a:cubicBezTo>
                    <a:pt x="92" y="102"/>
                    <a:pt x="92" y="102"/>
                    <a:pt x="92" y="102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93" y="99"/>
                    <a:pt x="92" y="96"/>
                    <a:pt x="90" y="94"/>
                  </a:cubicBezTo>
                  <a:cubicBezTo>
                    <a:pt x="95" y="88"/>
                    <a:pt x="95" y="88"/>
                    <a:pt x="95" y="88"/>
                  </a:cubicBezTo>
                  <a:cubicBezTo>
                    <a:pt x="100" y="88"/>
                    <a:pt x="100" y="88"/>
                    <a:pt x="100" y="88"/>
                  </a:cubicBezTo>
                  <a:cubicBezTo>
                    <a:pt x="108" y="107"/>
                    <a:pt x="108" y="107"/>
                    <a:pt x="108" y="107"/>
                  </a:cubicBezTo>
                  <a:cubicBezTo>
                    <a:pt x="107" y="108"/>
                    <a:pt x="105" y="109"/>
                    <a:pt x="104" y="110"/>
                  </a:cubicBezTo>
                  <a:moveTo>
                    <a:pt x="79" y="117"/>
                  </a:moveTo>
                  <a:cubicBezTo>
                    <a:pt x="75" y="117"/>
                    <a:pt x="70" y="116"/>
                    <a:pt x="66" y="115"/>
                  </a:cubicBezTo>
                  <a:cubicBezTo>
                    <a:pt x="52" y="111"/>
                    <a:pt x="41" y="101"/>
                    <a:pt x="35" y="89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56" y="82"/>
                    <a:pt x="56" y="82"/>
                    <a:pt x="56" y="82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77" y="96"/>
                    <a:pt x="77" y="96"/>
                    <a:pt x="77" y="96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6" y="101"/>
                    <a:pt x="78" y="106"/>
                    <a:pt x="82" y="107"/>
                  </a:cubicBezTo>
                  <a:cubicBezTo>
                    <a:pt x="83" y="107"/>
                    <a:pt x="84" y="107"/>
                    <a:pt x="84" y="107"/>
                  </a:cubicBezTo>
                  <a:cubicBezTo>
                    <a:pt x="87" y="107"/>
                    <a:pt x="89" y="106"/>
                    <a:pt x="90" y="105"/>
                  </a:cubicBezTo>
                  <a:cubicBezTo>
                    <a:pt x="101" y="112"/>
                    <a:pt x="101" y="112"/>
                    <a:pt x="101" y="112"/>
                  </a:cubicBezTo>
                  <a:cubicBezTo>
                    <a:pt x="94" y="115"/>
                    <a:pt x="86" y="117"/>
                    <a:pt x="79" y="117"/>
                  </a:cubicBezTo>
                  <a:moveTo>
                    <a:pt x="79" y="93"/>
                  </a:moveTo>
                  <a:cubicBezTo>
                    <a:pt x="54" y="75"/>
                    <a:pt x="54" y="75"/>
                    <a:pt x="54" y="75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71" y="71"/>
                    <a:pt x="71" y="71"/>
                    <a:pt x="71" y="71"/>
                  </a:cubicBezTo>
                  <a:cubicBezTo>
                    <a:pt x="72" y="74"/>
                    <a:pt x="74" y="76"/>
                    <a:pt x="77" y="76"/>
                  </a:cubicBezTo>
                  <a:cubicBezTo>
                    <a:pt x="77" y="76"/>
                    <a:pt x="78" y="76"/>
                    <a:pt x="79" y="76"/>
                  </a:cubicBezTo>
                  <a:cubicBezTo>
                    <a:pt x="81" y="76"/>
                    <a:pt x="83" y="75"/>
                    <a:pt x="85" y="74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92" y="86"/>
                    <a:pt x="92" y="86"/>
                    <a:pt x="92" y="86"/>
                  </a:cubicBezTo>
                  <a:cubicBezTo>
                    <a:pt x="88" y="92"/>
                    <a:pt x="88" y="92"/>
                    <a:pt x="88" y="92"/>
                  </a:cubicBezTo>
                  <a:cubicBezTo>
                    <a:pt x="87" y="92"/>
                    <a:pt x="87" y="92"/>
                    <a:pt x="86" y="92"/>
                  </a:cubicBezTo>
                  <a:cubicBezTo>
                    <a:pt x="86" y="92"/>
                    <a:pt x="85" y="92"/>
                    <a:pt x="84" y="92"/>
                  </a:cubicBezTo>
                  <a:cubicBezTo>
                    <a:pt x="83" y="92"/>
                    <a:pt x="81" y="92"/>
                    <a:pt x="79" y="93"/>
                  </a:cubicBezTo>
                  <a:moveTo>
                    <a:pt x="93" y="73"/>
                  </a:moveTo>
                  <a:cubicBezTo>
                    <a:pt x="86" y="70"/>
                    <a:pt x="86" y="70"/>
                    <a:pt x="86" y="70"/>
                  </a:cubicBezTo>
                  <a:cubicBezTo>
                    <a:pt x="87" y="68"/>
                    <a:pt x="86" y="66"/>
                    <a:pt x="85" y="65"/>
                  </a:cubicBezTo>
                  <a:cubicBezTo>
                    <a:pt x="93" y="58"/>
                    <a:pt x="93" y="58"/>
                    <a:pt x="93" y="58"/>
                  </a:cubicBezTo>
                  <a:cubicBezTo>
                    <a:pt x="94" y="58"/>
                    <a:pt x="95" y="59"/>
                    <a:pt x="96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73"/>
                    <a:pt x="97" y="73"/>
                    <a:pt x="97" y="73"/>
                  </a:cubicBezTo>
                  <a:cubicBezTo>
                    <a:pt x="93" y="73"/>
                    <a:pt x="93" y="73"/>
                    <a:pt x="93" y="73"/>
                  </a:cubicBezTo>
                  <a:moveTo>
                    <a:pt x="53" y="71"/>
                  </a:moveTo>
                  <a:cubicBezTo>
                    <a:pt x="52" y="69"/>
                    <a:pt x="52" y="69"/>
                    <a:pt x="52" y="69"/>
                  </a:cubicBezTo>
                  <a:cubicBezTo>
                    <a:pt x="53" y="69"/>
                    <a:pt x="53" y="69"/>
                    <a:pt x="53" y="68"/>
                  </a:cubicBezTo>
                  <a:cubicBezTo>
                    <a:pt x="63" y="46"/>
                    <a:pt x="63" y="46"/>
                    <a:pt x="63" y="4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89" y="51"/>
                    <a:pt x="90" y="53"/>
                    <a:pt x="91" y="55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2" y="62"/>
                    <a:pt x="82" y="62"/>
                    <a:pt x="81" y="61"/>
                  </a:cubicBezTo>
                  <a:cubicBezTo>
                    <a:pt x="80" y="61"/>
                    <a:pt x="79" y="61"/>
                    <a:pt x="79" y="61"/>
                  </a:cubicBezTo>
                  <a:cubicBezTo>
                    <a:pt x="75" y="61"/>
                    <a:pt x="72" y="63"/>
                    <a:pt x="71" y="67"/>
                  </a:cubicBezTo>
                  <a:cubicBezTo>
                    <a:pt x="71" y="67"/>
                    <a:pt x="71" y="67"/>
                    <a:pt x="71" y="68"/>
                  </a:cubicBezTo>
                  <a:cubicBezTo>
                    <a:pt x="53" y="71"/>
                    <a:pt x="53" y="71"/>
                    <a:pt x="53" y="71"/>
                  </a:cubicBezTo>
                  <a:moveTo>
                    <a:pt x="100" y="73"/>
                  </a:moveTo>
                  <a:cubicBezTo>
                    <a:pt x="100" y="59"/>
                    <a:pt x="100" y="59"/>
                    <a:pt x="100" y="59"/>
                  </a:cubicBezTo>
                  <a:cubicBezTo>
                    <a:pt x="103" y="58"/>
                    <a:pt x="106" y="56"/>
                    <a:pt x="107" y="53"/>
                  </a:cubicBezTo>
                  <a:cubicBezTo>
                    <a:pt x="108" y="50"/>
                    <a:pt x="107" y="46"/>
                    <a:pt x="104" y="44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24" y="45"/>
                    <a:pt x="130" y="63"/>
                    <a:pt x="125" y="81"/>
                  </a:cubicBezTo>
                  <a:cubicBezTo>
                    <a:pt x="123" y="91"/>
                    <a:pt x="118" y="99"/>
                    <a:pt x="111" y="105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07" y="87"/>
                    <a:pt x="107" y="87"/>
                    <a:pt x="107" y="87"/>
                  </a:cubicBezTo>
                  <a:cubicBezTo>
                    <a:pt x="106" y="72"/>
                    <a:pt x="106" y="72"/>
                    <a:pt x="106" y="72"/>
                  </a:cubicBezTo>
                  <a:cubicBezTo>
                    <a:pt x="100" y="73"/>
                    <a:pt x="100" y="73"/>
                    <a:pt x="100" y="73"/>
                  </a:cubicBezTo>
                  <a:moveTo>
                    <a:pt x="91" y="46"/>
                  </a:moveTo>
                  <a:cubicBezTo>
                    <a:pt x="75" y="40"/>
                    <a:pt x="75" y="40"/>
                    <a:pt x="75" y="40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6" y="29"/>
                    <a:pt x="107" y="30"/>
                    <a:pt x="108" y="31"/>
                  </a:cubicBezTo>
                  <a:cubicBezTo>
                    <a:pt x="101" y="42"/>
                    <a:pt x="101" y="42"/>
                    <a:pt x="101" y="42"/>
                  </a:cubicBezTo>
                  <a:cubicBezTo>
                    <a:pt x="101" y="42"/>
                    <a:pt x="101" y="42"/>
                    <a:pt x="101" y="42"/>
                  </a:cubicBezTo>
                  <a:cubicBezTo>
                    <a:pt x="100" y="42"/>
                    <a:pt x="99" y="42"/>
                    <a:pt x="98" y="42"/>
                  </a:cubicBezTo>
                  <a:cubicBezTo>
                    <a:pt x="95" y="42"/>
                    <a:pt x="92" y="44"/>
                    <a:pt x="91" y="46"/>
                  </a:cubicBezTo>
                  <a:moveTo>
                    <a:pt x="34" y="86"/>
                  </a:moveTo>
                  <a:cubicBezTo>
                    <a:pt x="30" y="76"/>
                    <a:pt x="29" y="66"/>
                    <a:pt x="32" y="56"/>
                  </a:cubicBezTo>
                  <a:cubicBezTo>
                    <a:pt x="36" y="42"/>
                    <a:pt x="45" y="32"/>
                    <a:pt x="57" y="26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1" y="65"/>
                    <a:pt x="51" y="65"/>
                    <a:pt x="51" y="65"/>
                  </a:cubicBezTo>
                  <a:cubicBezTo>
                    <a:pt x="51" y="64"/>
                    <a:pt x="51" y="64"/>
                    <a:pt x="51" y="64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34" y="86"/>
                    <a:pt x="34" y="86"/>
                    <a:pt x="34" y="86"/>
                  </a:cubicBezTo>
                  <a:moveTo>
                    <a:pt x="63" y="29"/>
                  </a:moveTo>
                  <a:cubicBezTo>
                    <a:pt x="60" y="24"/>
                    <a:pt x="60" y="24"/>
                    <a:pt x="60" y="24"/>
                  </a:cubicBezTo>
                  <a:cubicBezTo>
                    <a:pt x="66" y="22"/>
                    <a:pt x="72" y="21"/>
                    <a:pt x="79" y="21"/>
                  </a:cubicBezTo>
                  <a:cubicBezTo>
                    <a:pt x="83" y="21"/>
                    <a:pt x="87" y="21"/>
                    <a:pt x="91" y="22"/>
                  </a:cubicBezTo>
                  <a:cubicBezTo>
                    <a:pt x="94" y="23"/>
                    <a:pt x="97" y="24"/>
                    <a:pt x="100" y="26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63" y="29"/>
                    <a:pt x="63" y="29"/>
                    <a:pt x="63" y="29"/>
                  </a:cubicBezTo>
                  <a:moveTo>
                    <a:pt x="78" y="0"/>
                  </a:moveTo>
                  <a:cubicBezTo>
                    <a:pt x="52" y="0"/>
                    <a:pt x="28" y="14"/>
                    <a:pt x="16" y="39"/>
                  </a:cubicBezTo>
                  <a:cubicBezTo>
                    <a:pt x="0" y="74"/>
                    <a:pt x="15" y="115"/>
                    <a:pt x="49" y="131"/>
                  </a:cubicBezTo>
                  <a:cubicBezTo>
                    <a:pt x="58" y="135"/>
                    <a:pt x="67" y="137"/>
                    <a:pt x="77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105" y="137"/>
                    <a:pt x="129" y="122"/>
                    <a:pt x="140" y="98"/>
                  </a:cubicBezTo>
                  <a:cubicBezTo>
                    <a:pt x="145" y="89"/>
                    <a:pt x="147" y="79"/>
                    <a:pt x="147" y="70"/>
                  </a:cubicBezTo>
                  <a:cubicBezTo>
                    <a:pt x="147" y="68"/>
                    <a:pt x="147" y="68"/>
                    <a:pt x="147" y="68"/>
                  </a:cubicBezTo>
                  <a:cubicBezTo>
                    <a:pt x="147" y="42"/>
                    <a:pt x="132" y="18"/>
                    <a:pt x="108" y="6"/>
                  </a:cubicBezTo>
                  <a:cubicBezTo>
                    <a:pt x="98" y="2"/>
                    <a:pt x="88" y="0"/>
                    <a:pt x="78" y="0"/>
                  </a:cubicBezTo>
                </a:path>
              </a:pathLst>
            </a:custGeom>
            <a:solidFill>
              <a:srgbClr val="84A2C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52"/>
            <p:cNvSpPr>
              <a:spLocks/>
            </p:cNvSpPr>
            <p:nvPr userDrawn="1"/>
          </p:nvSpPr>
          <p:spPr bwMode="auto">
            <a:xfrm>
              <a:off x="3484" y="638"/>
              <a:ext cx="17" cy="16"/>
            </a:xfrm>
            <a:custGeom>
              <a:avLst/>
              <a:gdLst>
                <a:gd name="T0" fmla="*/ 15 w 17"/>
                <a:gd name="T1" fmla="*/ 0 h 16"/>
                <a:gd name="T2" fmla="*/ 0 w 17"/>
                <a:gd name="T3" fmla="*/ 3 h 16"/>
                <a:gd name="T4" fmla="*/ 3 w 17"/>
                <a:gd name="T5" fmla="*/ 16 h 16"/>
                <a:gd name="T6" fmla="*/ 17 w 17"/>
                <a:gd name="T7" fmla="*/ 14 h 16"/>
                <a:gd name="T8" fmla="*/ 15 w 1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6">
                  <a:moveTo>
                    <a:pt x="15" y="0"/>
                  </a:moveTo>
                  <a:lnTo>
                    <a:pt x="0" y="3"/>
                  </a:lnTo>
                  <a:lnTo>
                    <a:pt x="3" y="16"/>
                  </a:lnTo>
                  <a:lnTo>
                    <a:pt x="17" y="14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455A8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53"/>
            <p:cNvSpPr>
              <a:spLocks/>
            </p:cNvSpPr>
            <p:nvPr userDrawn="1"/>
          </p:nvSpPr>
          <p:spPr bwMode="auto">
            <a:xfrm>
              <a:off x="3484" y="638"/>
              <a:ext cx="17" cy="16"/>
            </a:xfrm>
            <a:custGeom>
              <a:avLst/>
              <a:gdLst>
                <a:gd name="T0" fmla="*/ 15 w 17"/>
                <a:gd name="T1" fmla="*/ 0 h 16"/>
                <a:gd name="T2" fmla="*/ 0 w 17"/>
                <a:gd name="T3" fmla="*/ 3 h 16"/>
                <a:gd name="T4" fmla="*/ 3 w 17"/>
                <a:gd name="T5" fmla="*/ 16 h 16"/>
                <a:gd name="T6" fmla="*/ 17 w 17"/>
                <a:gd name="T7" fmla="*/ 14 h 16"/>
                <a:gd name="T8" fmla="*/ 15 w 1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6">
                  <a:moveTo>
                    <a:pt x="15" y="0"/>
                  </a:moveTo>
                  <a:lnTo>
                    <a:pt x="0" y="3"/>
                  </a:lnTo>
                  <a:lnTo>
                    <a:pt x="3" y="16"/>
                  </a:lnTo>
                  <a:lnTo>
                    <a:pt x="17" y="14"/>
                  </a:lnTo>
                  <a:lnTo>
                    <a:pt x="15" y="0"/>
                  </a:lnTo>
                </a:path>
              </a:pathLst>
            </a:custGeom>
            <a:solidFill>
              <a:srgbClr val="1C64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126" name="Freeform 54"/>
            <p:cNvSpPr>
              <a:spLocks/>
            </p:cNvSpPr>
            <p:nvPr userDrawn="1"/>
          </p:nvSpPr>
          <p:spPr bwMode="auto">
            <a:xfrm>
              <a:off x="3515" y="667"/>
              <a:ext cx="8" cy="10"/>
            </a:xfrm>
            <a:custGeom>
              <a:avLst/>
              <a:gdLst>
                <a:gd name="T0" fmla="*/ 7 w 8"/>
                <a:gd name="T1" fmla="*/ 0 h 10"/>
                <a:gd name="T2" fmla="*/ 0 w 8"/>
                <a:gd name="T3" fmla="*/ 6 h 10"/>
                <a:gd name="T4" fmla="*/ 8 w 8"/>
                <a:gd name="T5" fmla="*/ 10 h 10"/>
                <a:gd name="T6" fmla="*/ 7 w 8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0">
                  <a:moveTo>
                    <a:pt x="7" y="0"/>
                  </a:moveTo>
                  <a:lnTo>
                    <a:pt x="0" y="6"/>
                  </a:lnTo>
                  <a:lnTo>
                    <a:pt x="8" y="1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455A8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55"/>
            <p:cNvSpPr>
              <a:spLocks/>
            </p:cNvSpPr>
            <p:nvPr userDrawn="1"/>
          </p:nvSpPr>
          <p:spPr bwMode="auto">
            <a:xfrm>
              <a:off x="3515" y="667"/>
              <a:ext cx="8" cy="10"/>
            </a:xfrm>
            <a:custGeom>
              <a:avLst/>
              <a:gdLst>
                <a:gd name="T0" fmla="*/ 7 w 8"/>
                <a:gd name="T1" fmla="*/ 0 h 10"/>
                <a:gd name="T2" fmla="*/ 0 w 8"/>
                <a:gd name="T3" fmla="*/ 6 h 10"/>
                <a:gd name="T4" fmla="*/ 8 w 8"/>
                <a:gd name="T5" fmla="*/ 10 h 10"/>
                <a:gd name="T6" fmla="*/ 7 w 8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0">
                  <a:moveTo>
                    <a:pt x="7" y="0"/>
                  </a:moveTo>
                  <a:lnTo>
                    <a:pt x="0" y="6"/>
                  </a:lnTo>
                  <a:lnTo>
                    <a:pt x="8" y="10"/>
                  </a:lnTo>
                  <a:lnTo>
                    <a:pt x="7" y="0"/>
                  </a:lnTo>
                </a:path>
              </a:pathLst>
            </a:custGeom>
            <a:solidFill>
              <a:srgbClr val="1C64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128" name="Freeform 56"/>
            <p:cNvSpPr>
              <a:spLocks noEditPoints="1"/>
            </p:cNvSpPr>
            <p:nvPr userDrawn="1"/>
          </p:nvSpPr>
          <p:spPr bwMode="auto">
            <a:xfrm>
              <a:off x="3442" y="583"/>
              <a:ext cx="129" cy="127"/>
            </a:xfrm>
            <a:custGeom>
              <a:avLst/>
              <a:gdLst>
                <a:gd name="T0" fmla="*/ 110 w 175"/>
                <a:gd name="T1" fmla="*/ 101 h 171"/>
                <a:gd name="T2" fmla="*/ 117 w 175"/>
                <a:gd name="T3" fmla="*/ 108 h 171"/>
                <a:gd name="T4" fmla="*/ 121 w 175"/>
                <a:gd name="T5" fmla="*/ 110 h 171"/>
                <a:gd name="T6" fmla="*/ 124 w 175"/>
                <a:gd name="T7" fmla="*/ 120 h 171"/>
                <a:gd name="T8" fmla="*/ 122 w 175"/>
                <a:gd name="T9" fmla="*/ 126 h 171"/>
                <a:gd name="T10" fmla="*/ 117 w 175"/>
                <a:gd name="T11" fmla="*/ 129 h 171"/>
                <a:gd name="T12" fmla="*/ 111 w 175"/>
                <a:gd name="T13" fmla="*/ 135 h 171"/>
                <a:gd name="T14" fmla="*/ 103 w 175"/>
                <a:gd name="T15" fmla="*/ 135 h 171"/>
                <a:gd name="T16" fmla="*/ 96 w 175"/>
                <a:gd name="T17" fmla="*/ 129 h 171"/>
                <a:gd name="T18" fmla="*/ 92 w 175"/>
                <a:gd name="T19" fmla="*/ 127 h 171"/>
                <a:gd name="T20" fmla="*/ 89 w 175"/>
                <a:gd name="T21" fmla="*/ 116 h 171"/>
                <a:gd name="T22" fmla="*/ 91 w 175"/>
                <a:gd name="T23" fmla="*/ 110 h 171"/>
                <a:gd name="T24" fmla="*/ 96 w 175"/>
                <a:gd name="T25" fmla="*/ 108 h 171"/>
                <a:gd name="T26" fmla="*/ 103 w 175"/>
                <a:gd name="T27" fmla="*/ 102 h 171"/>
                <a:gd name="T28" fmla="*/ 65 w 175"/>
                <a:gd name="T29" fmla="*/ 59 h 171"/>
                <a:gd name="T30" fmla="*/ 79 w 175"/>
                <a:gd name="T31" fmla="*/ 54 h 171"/>
                <a:gd name="T32" fmla="*/ 90 w 175"/>
                <a:gd name="T33" fmla="*/ 61 h 171"/>
                <a:gd name="T34" fmla="*/ 100 w 175"/>
                <a:gd name="T35" fmla="*/ 78 h 171"/>
                <a:gd name="T36" fmla="*/ 101 w 175"/>
                <a:gd name="T37" fmla="*/ 85 h 171"/>
                <a:gd name="T38" fmla="*/ 96 w 175"/>
                <a:gd name="T39" fmla="*/ 103 h 171"/>
                <a:gd name="T40" fmla="*/ 86 w 175"/>
                <a:gd name="T41" fmla="*/ 112 h 171"/>
                <a:gd name="T42" fmla="*/ 73 w 175"/>
                <a:gd name="T43" fmla="*/ 111 h 171"/>
                <a:gd name="T44" fmla="*/ 59 w 175"/>
                <a:gd name="T45" fmla="*/ 116 h 171"/>
                <a:gd name="T46" fmla="*/ 48 w 175"/>
                <a:gd name="T47" fmla="*/ 109 h 171"/>
                <a:gd name="T48" fmla="*/ 38 w 175"/>
                <a:gd name="T49" fmla="*/ 92 h 171"/>
                <a:gd name="T50" fmla="*/ 37 w 175"/>
                <a:gd name="T51" fmla="*/ 85 h 171"/>
                <a:gd name="T52" fmla="*/ 39 w 175"/>
                <a:gd name="T53" fmla="*/ 73 h 171"/>
                <a:gd name="T54" fmla="*/ 47 w 175"/>
                <a:gd name="T55" fmla="*/ 68 h 171"/>
                <a:gd name="T56" fmla="*/ 58 w 175"/>
                <a:gd name="T57" fmla="*/ 55 h 171"/>
                <a:gd name="T58" fmla="*/ 54 w 175"/>
                <a:gd name="T59" fmla="*/ 0 h 171"/>
                <a:gd name="T60" fmla="*/ 0 w 175"/>
                <a:gd name="T61" fmla="*/ 171 h 171"/>
                <a:gd name="T62" fmla="*/ 175 w 175"/>
                <a:gd name="T63" fmla="*/ 132 h 171"/>
                <a:gd name="T64" fmla="*/ 54 w 175"/>
                <a:gd name="T65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5" h="171">
                  <a:moveTo>
                    <a:pt x="106" y="104"/>
                  </a:moveTo>
                  <a:cubicBezTo>
                    <a:pt x="108" y="104"/>
                    <a:pt x="109" y="103"/>
                    <a:pt x="110" y="101"/>
                  </a:cubicBezTo>
                  <a:cubicBezTo>
                    <a:pt x="111" y="102"/>
                    <a:pt x="112" y="102"/>
                    <a:pt x="114" y="103"/>
                  </a:cubicBezTo>
                  <a:cubicBezTo>
                    <a:pt x="113" y="105"/>
                    <a:pt x="115" y="108"/>
                    <a:pt x="117" y="108"/>
                  </a:cubicBezTo>
                  <a:cubicBezTo>
                    <a:pt x="118" y="108"/>
                    <a:pt x="119" y="107"/>
                    <a:pt x="119" y="107"/>
                  </a:cubicBezTo>
                  <a:cubicBezTo>
                    <a:pt x="120" y="108"/>
                    <a:pt x="121" y="109"/>
                    <a:pt x="121" y="110"/>
                  </a:cubicBezTo>
                  <a:cubicBezTo>
                    <a:pt x="119" y="112"/>
                    <a:pt x="119" y="116"/>
                    <a:pt x="124" y="116"/>
                  </a:cubicBezTo>
                  <a:cubicBezTo>
                    <a:pt x="124" y="118"/>
                    <a:pt x="124" y="119"/>
                    <a:pt x="124" y="120"/>
                  </a:cubicBezTo>
                  <a:cubicBezTo>
                    <a:pt x="124" y="120"/>
                    <a:pt x="123" y="120"/>
                    <a:pt x="123" y="120"/>
                  </a:cubicBezTo>
                  <a:cubicBezTo>
                    <a:pt x="120" y="120"/>
                    <a:pt x="119" y="125"/>
                    <a:pt x="122" y="126"/>
                  </a:cubicBezTo>
                  <a:cubicBezTo>
                    <a:pt x="121" y="128"/>
                    <a:pt x="120" y="129"/>
                    <a:pt x="119" y="130"/>
                  </a:cubicBezTo>
                  <a:cubicBezTo>
                    <a:pt x="119" y="129"/>
                    <a:pt x="118" y="129"/>
                    <a:pt x="117" y="129"/>
                  </a:cubicBezTo>
                  <a:cubicBezTo>
                    <a:pt x="115" y="129"/>
                    <a:pt x="113" y="131"/>
                    <a:pt x="114" y="133"/>
                  </a:cubicBezTo>
                  <a:cubicBezTo>
                    <a:pt x="113" y="135"/>
                    <a:pt x="112" y="134"/>
                    <a:pt x="111" y="135"/>
                  </a:cubicBezTo>
                  <a:cubicBezTo>
                    <a:pt x="110" y="133"/>
                    <a:pt x="108" y="132"/>
                    <a:pt x="107" y="132"/>
                  </a:cubicBezTo>
                  <a:cubicBezTo>
                    <a:pt x="105" y="132"/>
                    <a:pt x="104" y="133"/>
                    <a:pt x="103" y="135"/>
                  </a:cubicBezTo>
                  <a:cubicBezTo>
                    <a:pt x="102" y="135"/>
                    <a:pt x="101" y="134"/>
                    <a:pt x="99" y="134"/>
                  </a:cubicBezTo>
                  <a:cubicBezTo>
                    <a:pt x="101" y="131"/>
                    <a:pt x="98" y="129"/>
                    <a:pt x="96" y="129"/>
                  </a:cubicBezTo>
                  <a:cubicBezTo>
                    <a:pt x="95" y="129"/>
                    <a:pt x="95" y="129"/>
                    <a:pt x="94" y="129"/>
                  </a:cubicBezTo>
                  <a:cubicBezTo>
                    <a:pt x="93" y="129"/>
                    <a:pt x="92" y="128"/>
                    <a:pt x="92" y="127"/>
                  </a:cubicBezTo>
                  <a:cubicBezTo>
                    <a:pt x="94" y="125"/>
                    <a:pt x="94" y="120"/>
                    <a:pt x="90" y="120"/>
                  </a:cubicBezTo>
                  <a:cubicBezTo>
                    <a:pt x="89" y="119"/>
                    <a:pt x="89" y="118"/>
                    <a:pt x="89" y="116"/>
                  </a:cubicBezTo>
                  <a:cubicBezTo>
                    <a:pt x="90" y="116"/>
                    <a:pt x="90" y="116"/>
                    <a:pt x="90" y="116"/>
                  </a:cubicBezTo>
                  <a:cubicBezTo>
                    <a:pt x="93" y="116"/>
                    <a:pt x="94" y="112"/>
                    <a:pt x="91" y="110"/>
                  </a:cubicBezTo>
                  <a:cubicBezTo>
                    <a:pt x="92" y="109"/>
                    <a:pt x="93" y="108"/>
                    <a:pt x="94" y="107"/>
                  </a:cubicBezTo>
                  <a:cubicBezTo>
                    <a:pt x="95" y="107"/>
                    <a:pt x="95" y="108"/>
                    <a:pt x="96" y="108"/>
                  </a:cubicBezTo>
                  <a:cubicBezTo>
                    <a:pt x="99" y="108"/>
                    <a:pt x="100" y="105"/>
                    <a:pt x="99" y="103"/>
                  </a:cubicBezTo>
                  <a:cubicBezTo>
                    <a:pt x="100" y="102"/>
                    <a:pt x="101" y="102"/>
                    <a:pt x="103" y="102"/>
                  </a:cubicBezTo>
                  <a:cubicBezTo>
                    <a:pt x="103" y="103"/>
                    <a:pt x="105" y="104"/>
                    <a:pt x="106" y="104"/>
                  </a:cubicBezTo>
                  <a:moveTo>
                    <a:pt x="65" y="59"/>
                  </a:moveTo>
                  <a:cubicBezTo>
                    <a:pt x="68" y="59"/>
                    <a:pt x="71" y="57"/>
                    <a:pt x="71" y="53"/>
                  </a:cubicBezTo>
                  <a:cubicBezTo>
                    <a:pt x="74" y="53"/>
                    <a:pt x="77" y="54"/>
                    <a:pt x="79" y="54"/>
                  </a:cubicBezTo>
                  <a:cubicBezTo>
                    <a:pt x="78" y="59"/>
                    <a:pt x="82" y="63"/>
                    <a:pt x="86" y="63"/>
                  </a:cubicBezTo>
                  <a:cubicBezTo>
                    <a:pt x="87" y="63"/>
                    <a:pt x="89" y="62"/>
                    <a:pt x="90" y="61"/>
                  </a:cubicBezTo>
                  <a:cubicBezTo>
                    <a:pt x="93" y="62"/>
                    <a:pt x="94" y="64"/>
                    <a:pt x="95" y="66"/>
                  </a:cubicBezTo>
                  <a:cubicBezTo>
                    <a:pt x="91" y="70"/>
                    <a:pt x="92" y="78"/>
                    <a:pt x="100" y="78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101" y="80"/>
                    <a:pt x="101" y="83"/>
                    <a:pt x="101" y="85"/>
                  </a:cubicBezTo>
                  <a:cubicBezTo>
                    <a:pt x="94" y="85"/>
                    <a:pt x="93" y="94"/>
                    <a:pt x="99" y="97"/>
                  </a:cubicBezTo>
                  <a:cubicBezTo>
                    <a:pt x="98" y="99"/>
                    <a:pt x="97" y="101"/>
                    <a:pt x="96" y="103"/>
                  </a:cubicBezTo>
                  <a:cubicBezTo>
                    <a:pt x="94" y="103"/>
                    <a:pt x="93" y="102"/>
                    <a:pt x="92" y="102"/>
                  </a:cubicBezTo>
                  <a:cubicBezTo>
                    <a:pt x="87" y="102"/>
                    <a:pt x="84" y="107"/>
                    <a:pt x="86" y="112"/>
                  </a:cubicBezTo>
                  <a:cubicBezTo>
                    <a:pt x="85" y="114"/>
                    <a:pt x="83" y="114"/>
                    <a:pt x="80" y="115"/>
                  </a:cubicBezTo>
                  <a:cubicBezTo>
                    <a:pt x="79" y="113"/>
                    <a:pt x="76" y="111"/>
                    <a:pt x="73" y="111"/>
                  </a:cubicBezTo>
                  <a:cubicBezTo>
                    <a:pt x="70" y="111"/>
                    <a:pt x="67" y="113"/>
                    <a:pt x="67" y="117"/>
                  </a:cubicBezTo>
                  <a:cubicBezTo>
                    <a:pt x="64" y="117"/>
                    <a:pt x="62" y="116"/>
                    <a:pt x="59" y="116"/>
                  </a:cubicBezTo>
                  <a:cubicBezTo>
                    <a:pt x="61" y="111"/>
                    <a:pt x="57" y="107"/>
                    <a:pt x="53" y="107"/>
                  </a:cubicBezTo>
                  <a:cubicBezTo>
                    <a:pt x="51" y="107"/>
                    <a:pt x="49" y="108"/>
                    <a:pt x="48" y="109"/>
                  </a:cubicBezTo>
                  <a:cubicBezTo>
                    <a:pt x="46" y="108"/>
                    <a:pt x="44" y="106"/>
                    <a:pt x="43" y="104"/>
                  </a:cubicBezTo>
                  <a:cubicBezTo>
                    <a:pt x="48" y="100"/>
                    <a:pt x="46" y="92"/>
                    <a:pt x="38" y="92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7" y="90"/>
                    <a:pt x="37" y="87"/>
                    <a:pt x="37" y="85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44" y="85"/>
                    <a:pt x="45" y="75"/>
                    <a:pt x="39" y="73"/>
                  </a:cubicBezTo>
                  <a:cubicBezTo>
                    <a:pt x="40" y="71"/>
                    <a:pt x="42" y="69"/>
                    <a:pt x="43" y="67"/>
                  </a:cubicBezTo>
                  <a:cubicBezTo>
                    <a:pt x="44" y="67"/>
                    <a:pt x="46" y="68"/>
                    <a:pt x="47" y="68"/>
                  </a:cubicBezTo>
                  <a:cubicBezTo>
                    <a:pt x="52" y="68"/>
                    <a:pt x="54" y="63"/>
                    <a:pt x="52" y="58"/>
                  </a:cubicBezTo>
                  <a:cubicBezTo>
                    <a:pt x="53" y="56"/>
                    <a:pt x="56" y="56"/>
                    <a:pt x="58" y="55"/>
                  </a:cubicBezTo>
                  <a:cubicBezTo>
                    <a:pt x="59" y="57"/>
                    <a:pt x="62" y="59"/>
                    <a:pt x="65" y="59"/>
                  </a:cubicBezTo>
                  <a:moveTo>
                    <a:pt x="54" y="0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175" y="132"/>
                    <a:pt x="175" y="132"/>
                    <a:pt x="175" y="132"/>
                  </a:cubicBezTo>
                  <a:cubicBezTo>
                    <a:pt x="175" y="132"/>
                    <a:pt x="175" y="132"/>
                    <a:pt x="175" y="132"/>
                  </a:cubicBezTo>
                  <a:cubicBezTo>
                    <a:pt x="54" y="0"/>
                    <a:pt x="54" y="0"/>
                    <a:pt x="54" y="0"/>
                  </a:cubicBezTo>
                </a:path>
              </a:pathLst>
            </a:custGeom>
            <a:solidFill>
              <a:srgbClr val="1C64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57"/>
            <p:cNvSpPr>
              <a:spLocks noEditPoints="1"/>
            </p:cNvSpPr>
            <p:nvPr userDrawn="1"/>
          </p:nvSpPr>
          <p:spPr bwMode="auto">
            <a:xfrm>
              <a:off x="2777" y="983"/>
              <a:ext cx="215" cy="198"/>
            </a:xfrm>
            <a:custGeom>
              <a:avLst/>
              <a:gdLst>
                <a:gd name="T0" fmla="*/ 183 w 291"/>
                <a:gd name="T1" fmla="*/ 227 h 268"/>
                <a:gd name="T2" fmla="*/ 150 w 291"/>
                <a:gd name="T3" fmla="*/ 226 h 268"/>
                <a:gd name="T4" fmla="*/ 151 w 291"/>
                <a:gd name="T5" fmla="*/ 190 h 268"/>
                <a:gd name="T6" fmla="*/ 184 w 291"/>
                <a:gd name="T7" fmla="*/ 191 h 268"/>
                <a:gd name="T8" fmla="*/ 183 w 291"/>
                <a:gd name="T9" fmla="*/ 227 h 268"/>
                <a:gd name="T10" fmla="*/ 154 w 291"/>
                <a:gd name="T11" fmla="*/ 91 h 268"/>
                <a:gd name="T12" fmla="*/ 155 w 291"/>
                <a:gd name="T13" fmla="*/ 47 h 268"/>
                <a:gd name="T14" fmla="*/ 163 w 291"/>
                <a:gd name="T15" fmla="*/ 46 h 268"/>
                <a:gd name="T16" fmla="*/ 164 w 291"/>
                <a:gd name="T17" fmla="*/ 46 h 268"/>
                <a:gd name="T18" fmla="*/ 218 w 291"/>
                <a:gd name="T19" fmla="*/ 102 h 268"/>
                <a:gd name="T20" fmla="*/ 208 w 291"/>
                <a:gd name="T21" fmla="*/ 132 h 268"/>
                <a:gd name="T22" fmla="*/ 201 w 291"/>
                <a:gd name="T23" fmla="*/ 145 h 268"/>
                <a:gd name="T24" fmla="*/ 195 w 291"/>
                <a:gd name="T25" fmla="*/ 155 h 268"/>
                <a:gd name="T26" fmla="*/ 190 w 291"/>
                <a:gd name="T27" fmla="*/ 174 h 268"/>
                <a:gd name="T28" fmla="*/ 187 w 291"/>
                <a:gd name="T29" fmla="*/ 182 h 268"/>
                <a:gd name="T30" fmla="*/ 182 w 291"/>
                <a:gd name="T31" fmla="*/ 185 h 268"/>
                <a:gd name="T32" fmla="*/ 181 w 291"/>
                <a:gd name="T33" fmla="*/ 185 h 268"/>
                <a:gd name="T34" fmla="*/ 177 w 291"/>
                <a:gd name="T35" fmla="*/ 185 h 268"/>
                <a:gd name="T36" fmla="*/ 172 w 291"/>
                <a:gd name="T37" fmla="*/ 185 h 268"/>
                <a:gd name="T38" fmla="*/ 151 w 291"/>
                <a:gd name="T39" fmla="*/ 184 h 268"/>
                <a:gd name="T40" fmla="*/ 153 w 291"/>
                <a:gd name="T41" fmla="*/ 118 h 268"/>
                <a:gd name="T42" fmla="*/ 178 w 291"/>
                <a:gd name="T43" fmla="*/ 139 h 268"/>
                <a:gd name="T44" fmla="*/ 189 w 291"/>
                <a:gd name="T45" fmla="*/ 78 h 268"/>
                <a:gd name="T46" fmla="*/ 154 w 291"/>
                <a:gd name="T47" fmla="*/ 91 h 268"/>
                <a:gd name="T48" fmla="*/ 113 w 291"/>
                <a:gd name="T49" fmla="*/ 75 h 268"/>
                <a:gd name="T50" fmla="*/ 124 w 291"/>
                <a:gd name="T51" fmla="*/ 71 h 268"/>
                <a:gd name="T52" fmla="*/ 135 w 291"/>
                <a:gd name="T53" fmla="*/ 46 h 268"/>
                <a:gd name="T54" fmla="*/ 135 w 291"/>
                <a:gd name="T55" fmla="*/ 46 h 268"/>
                <a:gd name="T56" fmla="*/ 145 w 291"/>
                <a:gd name="T57" fmla="*/ 46 h 268"/>
                <a:gd name="T58" fmla="*/ 144 w 291"/>
                <a:gd name="T59" fmla="*/ 108 h 268"/>
                <a:gd name="T60" fmla="*/ 143 w 291"/>
                <a:gd name="T61" fmla="*/ 108 h 268"/>
                <a:gd name="T62" fmla="*/ 114 w 291"/>
                <a:gd name="T63" fmla="*/ 136 h 268"/>
                <a:gd name="T64" fmla="*/ 143 w 291"/>
                <a:gd name="T65" fmla="*/ 165 h 268"/>
                <a:gd name="T66" fmla="*/ 143 w 291"/>
                <a:gd name="T67" fmla="*/ 165 h 268"/>
                <a:gd name="T68" fmla="*/ 141 w 291"/>
                <a:gd name="T69" fmla="*/ 227 h 268"/>
                <a:gd name="T70" fmla="*/ 131 w 291"/>
                <a:gd name="T71" fmla="*/ 227 h 268"/>
                <a:gd name="T72" fmla="*/ 120 w 291"/>
                <a:gd name="T73" fmla="*/ 201 h 268"/>
                <a:gd name="T74" fmla="*/ 109 w 291"/>
                <a:gd name="T75" fmla="*/ 197 h 268"/>
                <a:gd name="T76" fmla="*/ 84 w 291"/>
                <a:gd name="T77" fmla="*/ 206 h 268"/>
                <a:gd name="T78" fmla="*/ 84 w 291"/>
                <a:gd name="T79" fmla="*/ 206 h 268"/>
                <a:gd name="T80" fmla="*/ 70 w 291"/>
                <a:gd name="T81" fmla="*/ 192 h 268"/>
                <a:gd name="T82" fmla="*/ 80 w 291"/>
                <a:gd name="T83" fmla="*/ 167 h 268"/>
                <a:gd name="T84" fmla="*/ 76 w 291"/>
                <a:gd name="T85" fmla="*/ 155 h 268"/>
                <a:gd name="T86" fmla="*/ 51 w 291"/>
                <a:gd name="T87" fmla="*/ 144 h 268"/>
                <a:gd name="T88" fmla="*/ 51 w 291"/>
                <a:gd name="T89" fmla="*/ 124 h 268"/>
                <a:gd name="T90" fmla="*/ 77 w 291"/>
                <a:gd name="T91" fmla="*/ 114 h 268"/>
                <a:gd name="T92" fmla="*/ 82 w 291"/>
                <a:gd name="T93" fmla="*/ 103 h 268"/>
                <a:gd name="T94" fmla="*/ 72 w 291"/>
                <a:gd name="T95" fmla="*/ 78 h 268"/>
                <a:gd name="T96" fmla="*/ 87 w 291"/>
                <a:gd name="T97" fmla="*/ 64 h 268"/>
                <a:gd name="T98" fmla="*/ 87 w 291"/>
                <a:gd name="T99" fmla="*/ 64 h 268"/>
                <a:gd name="T100" fmla="*/ 113 w 291"/>
                <a:gd name="T101" fmla="*/ 75 h 268"/>
                <a:gd name="T102" fmla="*/ 145 w 291"/>
                <a:gd name="T103" fmla="*/ 0 h 268"/>
                <a:gd name="T104" fmla="*/ 14 w 291"/>
                <a:gd name="T105" fmla="*/ 108 h 268"/>
                <a:gd name="T106" fmla="*/ 119 w 291"/>
                <a:gd name="T107" fmla="*/ 265 h 268"/>
                <a:gd name="T108" fmla="*/ 144 w 291"/>
                <a:gd name="T109" fmla="*/ 268 h 268"/>
                <a:gd name="T110" fmla="*/ 147 w 291"/>
                <a:gd name="T111" fmla="*/ 268 h 268"/>
                <a:gd name="T112" fmla="*/ 276 w 291"/>
                <a:gd name="T113" fmla="*/ 160 h 268"/>
                <a:gd name="T114" fmla="*/ 171 w 291"/>
                <a:gd name="T115" fmla="*/ 3 h 268"/>
                <a:gd name="T116" fmla="*/ 145 w 291"/>
                <a:gd name="T117" fmla="*/ 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1" h="268">
                  <a:moveTo>
                    <a:pt x="183" y="227"/>
                  </a:moveTo>
                  <a:cubicBezTo>
                    <a:pt x="150" y="226"/>
                    <a:pt x="150" y="226"/>
                    <a:pt x="150" y="226"/>
                  </a:cubicBezTo>
                  <a:cubicBezTo>
                    <a:pt x="151" y="190"/>
                    <a:pt x="151" y="190"/>
                    <a:pt x="151" y="190"/>
                  </a:cubicBezTo>
                  <a:cubicBezTo>
                    <a:pt x="184" y="191"/>
                    <a:pt x="184" y="191"/>
                    <a:pt x="184" y="191"/>
                  </a:cubicBezTo>
                  <a:cubicBezTo>
                    <a:pt x="183" y="227"/>
                    <a:pt x="183" y="227"/>
                    <a:pt x="183" y="227"/>
                  </a:cubicBezTo>
                  <a:moveTo>
                    <a:pt x="154" y="91"/>
                  </a:moveTo>
                  <a:cubicBezTo>
                    <a:pt x="155" y="47"/>
                    <a:pt x="155" y="47"/>
                    <a:pt x="155" y="47"/>
                  </a:cubicBezTo>
                  <a:cubicBezTo>
                    <a:pt x="157" y="46"/>
                    <a:pt x="160" y="46"/>
                    <a:pt x="163" y="46"/>
                  </a:cubicBezTo>
                  <a:cubicBezTo>
                    <a:pt x="163" y="46"/>
                    <a:pt x="164" y="46"/>
                    <a:pt x="164" y="46"/>
                  </a:cubicBezTo>
                  <a:cubicBezTo>
                    <a:pt x="194" y="47"/>
                    <a:pt x="218" y="72"/>
                    <a:pt x="218" y="102"/>
                  </a:cubicBezTo>
                  <a:cubicBezTo>
                    <a:pt x="217" y="113"/>
                    <a:pt x="214" y="123"/>
                    <a:pt x="208" y="132"/>
                  </a:cubicBezTo>
                  <a:cubicBezTo>
                    <a:pt x="201" y="145"/>
                    <a:pt x="201" y="145"/>
                    <a:pt x="201" y="145"/>
                  </a:cubicBezTo>
                  <a:cubicBezTo>
                    <a:pt x="195" y="155"/>
                    <a:pt x="195" y="155"/>
                    <a:pt x="195" y="155"/>
                  </a:cubicBezTo>
                  <a:cubicBezTo>
                    <a:pt x="194" y="157"/>
                    <a:pt x="190" y="166"/>
                    <a:pt x="190" y="174"/>
                  </a:cubicBezTo>
                  <a:cubicBezTo>
                    <a:pt x="190" y="177"/>
                    <a:pt x="189" y="180"/>
                    <a:pt x="187" y="182"/>
                  </a:cubicBezTo>
                  <a:cubicBezTo>
                    <a:pt x="186" y="185"/>
                    <a:pt x="184" y="185"/>
                    <a:pt x="182" y="185"/>
                  </a:cubicBezTo>
                  <a:cubicBezTo>
                    <a:pt x="182" y="185"/>
                    <a:pt x="182" y="185"/>
                    <a:pt x="181" y="185"/>
                  </a:cubicBezTo>
                  <a:cubicBezTo>
                    <a:pt x="180" y="185"/>
                    <a:pt x="179" y="185"/>
                    <a:pt x="177" y="185"/>
                  </a:cubicBezTo>
                  <a:cubicBezTo>
                    <a:pt x="176" y="185"/>
                    <a:pt x="174" y="185"/>
                    <a:pt x="172" y="185"/>
                  </a:cubicBezTo>
                  <a:cubicBezTo>
                    <a:pt x="165" y="184"/>
                    <a:pt x="158" y="184"/>
                    <a:pt x="151" y="184"/>
                  </a:cubicBezTo>
                  <a:cubicBezTo>
                    <a:pt x="153" y="118"/>
                    <a:pt x="153" y="118"/>
                    <a:pt x="153" y="118"/>
                  </a:cubicBezTo>
                  <a:cubicBezTo>
                    <a:pt x="178" y="139"/>
                    <a:pt x="178" y="139"/>
                    <a:pt x="178" y="139"/>
                  </a:cubicBezTo>
                  <a:cubicBezTo>
                    <a:pt x="189" y="78"/>
                    <a:pt x="189" y="78"/>
                    <a:pt x="189" y="78"/>
                  </a:cubicBezTo>
                  <a:cubicBezTo>
                    <a:pt x="154" y="91"/>
                    <a:pt x="154" y="91"/>
                    <a:pt x="154" y="91"/>
                  </a:cubicBezTo>
                  <a:moveTo>
                    <a:pt x="113" y="75"/>
                  </a:moveTo>
                  <a:cubicBezTo>
                    <a:pt x="124" y="71"/>
                    <a:pt x="124" y="71"/>
                    <a:pt x="124" y="71"/>
                  </a:cubicBezTo>
                  <a:cubicBezTo>
                    <a:pt x="124" y="71"/>
                    <a:pt x="134" y="46"/>
                    <a:pt x="135" y="46"/>
                  </a:cubicBezTo>
                  <a:cubicBezTo>
                    <a:pt x="135" y="46"/>
                    <a:pt x="135" y="46"/>
                    <a:pt x="135" y="46"/>
                  </a:cubicBezTo>
                  <a:cubicBezTo>
                    <a:pt x="145" y="46"/>
                    <a:pt x="145" y="46"/>
                    <a:pt x="145" y="46"/>
                  </a:cubicBezTo>
                  <a:cubicBezTo>
                    <a:pt x="144" y="108"/>
                    <a:pt x="144" y="108"/>
                    <a:pt x="144" y="108"/>
                  </a:cubicBezTo>
                  <a:cubicBezTo>
                    <a:pt x="144" y="108"/>
                    <a:pt x="143" y="108"/>
                    <a:pt x="143" y="108"/>
                  </a:cubicBezTo>
                  <a:cubicBezTo>
                    <a:pt x="127" y="108"/>
                    <a:pt x="114" y="120"/>
                    <a:pt x="114" y="136"/>
                  </a:cubicBezTo>
                  <a:cubicBezTo>
                    <a:pt x="113" y="152"/>
                    <a:pt x="126" y="165"/>
                    <a:pt x="143" y="165"/>
                  </a:cubicBezTo>
                  <a:cubicBezTo>
                    <a:pt x="143" y="165"/>
                    <a:pt x="143" y="165"/>
                    <a:pt x="143" y="165"/>
                  </a:cubicBezTo>
                  <a:cubicBezTo>
                    <a:pt x="141" y="227"/>
                    <a:pt x="141" y="227"/>
                    <a:pt x="141" y="227"/>
                  </a:cubicBezTo>
                  <a:cubicBezTo>
                    <a:pt x="131" y="227"/>
                    <a:pt x="131" y="227"/>
                    <a:pt x="131" y="227"/>
                  </a:cubicBezTo>
                  <a:cubicBezTo>
                    <a:pt x="130" y="226"/>
                    <a:pt x="120" y="201"/>
                    <a:pt x="120" y="201"/>
                  </a:cubicBezTo>
                  <a:cubicBezTo>
                    <a:pt x="109" y="197"/>
                    <a:pt x="109" y="197"/>
                    <a:pt x="109" y="197"/>
                  </a:cubicBezTo>
                  <a:cubicBezTo>
                    <a:pt x="109" y="197"/>
                    <a:pt x="87" y="206"/>
                    <a:pt x="84" y="206"/>
                  </a:cubicBezTo>
                  <a:cubicBezTo>
                    <a:pt x="84" y="206"/>
                    <a:pt x="84" y="206"/>
                    <a:pt x="84" y="206"/>
                  </a:cubicBezTo>
                  <a:cubicBezTo>
                    <a:pt x="70" y="192"/>
                    <a:pt x="70" y="192"/>
                    <a:pt x="70" y="192"/>
                  </a:cubicBezTo>
                  <a:cubicBezTo>
                    <a:pt x="69" y="191"/>
                    <a:pt x="80" y="167"/>
                    <a:pt x="80" y="167"/>
                  </a:cubicBezTo>
                  <a:cubicBezTo>
                    <a:pt x="76" y="155"/>
                    <a:pt x="76" y="155"/>
                    <a:pt x="76" y="155"/>
                  </a:cubicBezTo>
                  <a:cubicBezTo>
                    <a:pt x="76" y="155"/>
                    <a:pt x="51" y="146"/>
                    <a:pt x="51" y="144"/>
                  </a:cubicBezTo>
                  <a:cubicBezTo>
                    <a:pt x="51" y="124"/>
                    <a:pt x="51" y="124"/>
                    <a:pt x="51" y="124"/>
                  </a:cubicBezTo>
                  <a:cubicBezTo>
                    <a:pt x="51" y="123"/>
                    <a:pt x="77" y="114"/>
                    <a:pt x="77" y="114"/>
                  </a:cubicBezTo>
                  <a:cubicBezTo>
                    <a:pt x="82" y="103"/>
                    <a:pt x="82" y="103"/>
                    <a:pt x="82" y="103"/>
                  </a:cubicBezTo>
                  <a:cubicBezTo>
                    <a:pt x="82" y="103"/>
                    <a:pt x="71" y="79"/>
                    <a:pt x="72" y="78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90" y="64"/>
                    <a:pt x="113" y="75"/>
                    <a:pt x="113" y="75"/>
                  </a:cubicBezTo>
                  <a:moveTo>
                    <a:pt x="145" y="0"/>
                  </a:moveTo>
                  <a:cubicBezTo>
                    <a:pt x="83" y="0"/>
                    <a:pt x="27" y="44"/>
                    <a:pt x="14" y="108"/>
                  </a:cubicBezTo>
                  <a:cubicBezTo>
                    <a:pt x="0" y="180"/>
                    <a:pt x="47" y="250"/>
                    <a:pt x="119" y="265"/>
                  </a:cubicBezTo>
                  <a:cubicBezTo>
                    <a:pt x="127" y="267"/>
                    <a:pt x="135" y="267"/>
                    <a:pt x="144" y="268"/>
                  </a:cubicBezTo>
                  <a:cubicBezTo>
                    <a:pt x="147" y="268"/>
                    <a:pt x="147" y="268"/>
                    <a:pt x="147" y="268"/>
                  </a:cubicBezTo>
                  <a:cubicBezTo>
                    <a:pt x="209" y="267"/>
                    <a:pt x="264" y="223"/>
                    <a:pt x="276" y="160"/>
                  </a:cubicBezTo>
                  <a:cubicBezTo>
                    <a:pt x="291" y="88"/>
                    <a:pt x="244" y="18"/>
                    <a:pt x="171" y="3"/>
                  </a:cubicBezTo>
                  <a:cubicBezTo>
                    <a:pt x="163" y="1"/>
                    <a:pt x="154" y="0"/>
                    <a:pt x="145" y="0"/>
                  </a:cubicBezTo>
                </a:path>
              </a:pathLst>
            </a:custGeom>
            <a:solidFill>
              <a:srgbClr val="216BB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775099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6622479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2544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8613776" y="27385"/>
            <a:ext cx="301625" cy="94059"/>
          </a:xfrm>
          <a:prstGeom prst="rect">
            <a:avLst/>
          </a:prstGeom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7597775" y="4913710"/>
            <a:ext cx="1511300" cy="25003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D71B782-88F7-4A84-B046-539A0AEE819E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070635657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9143999" cy="5143500"/>
          </a:xfrm>
          <a:prstGeom prst="rect">
            <a:avLst/>
          </a:prstGeom>
        </p:spPr>
      </p:pic>
      <p:grpSp>
        <p:nvGrpSpPr>
          <p:cNvPr id="54" name="Group 19"/>
          <p:cNvGrpSpPr>
            <a:grpSpLocks noChangeAspect="1"/>
          </p:cNvGrpSpPr>
          <p:nvPr userDrawn="1"/>
        </p:nvGrpSpPr>
        <p:grpSpPr bwMode="auto">
          <a:xfrm>
            <a:off x="8176861" y="4339892"/>
            <a:ext cx="438164" cy="423513"/>
            <a:chOff x="2074" y="843"/>
            <a:chExt cx="1615" cy="1561"/>
          </a:xfrm>
        </p:grpSpPr>
        <p:sp>
          <p:nvSpPr>
            <p:cNvPr id="55" name="Freeform 20"/>
            <p:cNvSpPr>
              <a:spLocks noEditPoints="1"/>
            </p:cNvSpPr>
            <p:nvPr userDrawn="1"/>
          </p:nvSpPr>
          <p:spPr bwMode="auto">
            <a:xfrm>
              <a:off x="2074" y="1379"/>
              <a:ext cx="1525" cy="442"/>
            </a:xfrm>
            <a:custGeom>
              <a:avLst/>
              <a:gdLst>
                <a:gd name="T0" fmla="*/ 646 w 646"/>
                <a:gd name="T1" fmla="*/ 0 h 187"/>
                <a:gd name="T2" fmla="*/ 0 w 646"/>
                <a:gd name="T3" fmla="*/ 187 h 187"/>
                <a:gd name="T4" fmla="*/ 0 w 646"/>
                <a:gd name="T5" fmla="*/ 0 h 187"/>
                <a:gd name="T6" fmla="*/ 334 w 646"/>
                <a:gd name="T7" fmla="*/ 41 h 187"/>
                <a:gd name="T8" fmla="*/ 298 w 646"/>
                <a:gd name="T9" fmla="*/ 41 h 187"/>
                <a:gd name="T10" fmla="*/ 289 w 646"/>
                <a:gd name="T11" fmla="*/ 66 h 187"/>
                <a:gd name="T12" fmla="*/ 325 w 646"/>
                <a:gd name="T13" fmla="*/ 48 h 187"/>
                <a:gd name="T14" fmla="*/ 316 w 646"/>
                <a:gd name="T15" fmla="*/ 140 h 187"/>
                <a:gd name="T16" fmla="*/ 358 w 646"/>
                <a:gd name="T17" fmla="*/ 144 h 187"/>
                <a:gd name="T18" fmla="*/ 343 w 646"/>
                <a:gd name="T19" fmla="*/ 130 h 187"/>
                <a:gd name="T20" fmla="*/ 343 w 646"/>
                <a:gd name="T21" fmla="*/ 47 h 187"/>
                <a:gd name="T22" fmla="*/ 375 w 646"/>
                <a:gd name="T23" fmla="*/ 66 h 187"/>
                <a:gd name="T24" fmla="*/ 377 w 646"/>
                <a:gd name="T25" fmla="*/ 37 h 187"/>
                <a:gd name="T26" fmla="*/ 207 w 646"/>
                <a:gd name="T27" fmla="*/ 69 h 187"/>
                <a:gd name="T28" fmla="*/ 233 w 646"/>
                <a:gd name="T29" fmla="*/ 141 h 187"/>
                <a:gd name="T30" fmla="*/ 204 w 646"/>
                <a:gd name="T31" fmla="*/ 116 h 187"/>
                <a:gd name="T32" fmla="*/ 270 w 646"/>
                <a:gd name="T33" fmla="*/ 119 h 187"/>
                <a:gd name="T34" fmla="*/ 225 w 646"/>
                <a:gd name="T35" fmla="*/ 69 h 187"/>
                <a:gd name="T36" fmla="*/ 258 w 646"/>
                <a:gd name="T37" fmla="*/ 56 h 187"/>
                <a:gd name="T38" fmla="*/ 266 w 646"/>
                <a:gd name="T39" fmla="*/ 64 h 187"/>
                <a:gd name="T40" fmla="*/ 207 w 646"/>
                <a:gd name="T41" fmla="*/ 69 h 187"/>
                <a:gd name="T42" fmla="*/ 44 w 646"/>
                <a:gd name="T43" fmla="*/ 45 h 187"/>
                <a:gd name="T44" fmla="*/ 58 w 646"/>
                <a:gd name="T45" fmla="*/ 93 h 187"/>
                <a:gd name="T46" fmla="*/ 43 w 646"/>
                <a:gd name="T47" fmla="*/ 144 h 187"/>
                <a:gd name="T48" fmla="*/ 124 w 646"/>
                <a:gd name="T49" fmla="*/ 119 h 187"/>
                <a:gd name="T50" fmla="*/ 93 w 646"/>
                <a:gd name="T51" fmla="*/ 139 h 187"/>
                <a:gd name="T52" fmla="*/ 76 w 646"/>
                <a:gd name="T53" fmla="*/ 92 h 187"/>
                <a:gd name="T54" fmla="*/ 85 w 646"/>
                <a:gd name="T55" fmla="*/ 45 h 187"/>
                <a:gd name="T56" fmla="*/ 44 w 646"/>
                <a:gd name="T57" fmla="*/ 41 h 187"/>
                <a:gd name="T58" fmla="*/ 139 w 646"/>
                <a:gd name="T59" fmla="*/ 42 h 187"/>
                <a:gd name="T60" fmla="*/ 152 w 646"/>
                <a:gd name="T61" fmla="*/ 56 h 187"/>
                <a:gd name="T62" fmla="*/ 152 w 646"/>
                <a:gd name="T63" fmla="*/ 130 h 187"/>
                <a:gd name="T64" fmla="*/ 139 w 646"/>
                <a:gd name="T65" fmla="*/ 142 h 187"/>
                <a:gd name="T66" fmla="*/ 173 w 646"/>
                <a:gd name="T67" fmla="*/ 145 h 187"/>
                <a:gd name="T68" fmla="*/ 173 w 646"/>
                <a:gd name="T69" fmla="*/ 138 h 187"/>
                <a:gd name="T70" fmla="*/ 170 w 646"/>
                <a:gd name="T71" fmla="*/ 94 h 187"/>
                <a:gd name="T72" fmla="*/ 184 w 646"/>
                <a:gd name="T73" fmla="*/ 41 h 187"/>
                <a:gd name="T74" fmla="*/ 139 w 646"/>
                <a:gd name="T75" fmla="*/ 42 h 187"/>
                <a:gd name="T76" fmla="*/ 411 w 646"/>
                <a:gd name="T77" fmla="*/ 67 h 187"/>
                <a:gd name="T78" fmla="*/ 408 w 646"/>
                <a:gd name="T79" fmla="*/ 137 h 187"/>
                <a:gd name="T80" fmla="*/ 395 w 646"/>
                <a:gd name="T81" fmla="*/ 144 h 187"/>
                <a:gd name="T82" fmla="*/ 479 w 646"/>
                <a:gd name="T83" fmla="*/ 119 h 187"/>
                <a:gd name="T84" fmla="*/ 447 w 646"/>
                <a:gd name="T85" fmla="*/ 139 h 187"/>
                <a:gd name="T86" fmla="*/ 428 w 646"/>
                <a:gd name="T87" fmla="*/ 118 h 187"/>
                <a:gd name="T88" fmla="*/ 455 w 646"/>
                <a:gd name="T89" fmla="*/ 96 h 187"/>
                <a:gd name="T90" fmla="*/ 463 w 646"/>
                <a:gd name="T91" fmla="*/ 108 h 187"/>
                <a:gd name="T92" fmla="*/ 458 w 646"/>
                <a:gd name="T93" fmla="*/ 74 h 187"/>
                <a:gd name="T94" fmla="*/ 428 w 646"/>
                <a:gd name="T95" fmla="*/ 87 h 187"/>
                <a:gd name="T96" fmla="*/ 460 w 646"/>
                <a:gd name="T97" fmla="*/ 50 h 187"/>
                <a:gd name="T98" fmla="*/ 471 w 646"/>
                <a:gd name="T99" fmla="*/ 65 h 187"/>
                <a:gd name="T100" fmla="*/ 397 w 646"/>
                <a:gd name="T101" fmla="*/ 41 h 187"/>
                <a:gd name="T102" fmla="*/ 495 w 646"/>
                <a:gd name="T103" fmla="*/ 42 h 187"/>
                <a:gd name="T104" fmla="*/ 506 w 646"/>
                <a:gd name="T105" fmla="*/ 48 h 187"/>
                <a:gd name="T106" fmla="*/ 508 w 646"/>
                <a:gd name="T107" fmla="*/ 117 h 187"/>
                <a:gd name="T108" fmla="*/ 494 w 646"/>
                <a:gd name="T109" fmla="*/ 143 h 187"/>
                <a:gd name="T110" fmla="*/ 533 w 646"/>
                <a:gd name="T111" fmla="*/ 145 h 187"/>
                <a:gd name="T112" fmla="*/ 584 w 646"/>
                <a:gd name="T113" fmla="*/ 51 h 187"/>
                <a:gd name="T114" fmla="*/ 495 w 646"/>
                <a:gd name="T115" fmla="*/ 42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46" h="187">
                  <a:moveTo>
                    <a:pt x="0" y="0"/>
                  </a:moveTo>
                  <a:cubicBezTo>
                    <a:pt x="646" y="0"/>
                    <a:pt x="646" y="0"/>
                    <a:pt x="646" y="0"/>
                  </a:cubicBezTo>
                  <a:cubicBezTo>
                    <a:pt x="646" y="186"/>
                    <a:pt x="646" y="186"/>
                    <a:pt x="646" y="186"/>
                  </a:cubicBezTo>
                  <a:cubicBezTo>
                    <a:pt x="431" y="187"/>
                    <a:pt x="215" y="186"/>
                    <a:pt x="0" y="18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369" y="41"/>
                  </a:moveTo>
                  <a:cubicBezTo>
                    <a:pt x="361" y="43"/>
                    <a:pt x="346" y="41"/>
                    <a:pt x="334" y="41"/>
                  </a:cubicBezTo>
                  <a:cubicBezTo>
                    <a:pt x="316" y="41"/>
                    <a:pt x="316" y="41"/>
                    <a:pt x="316" y="41"/>
                  </a:cubicBezTo>
                  <a:cubicBezTo>
                    <a:pt x="309" y="41"/>
                    <a:pt x="302" y="42"/>
                    <a:pt x="298" y="41"/>
                  </a:cubicBezTo>
                  <a:cubicBezTo>
                    <a:pt x="295" y="40"/>
                    <a:pt x="293" y="36"/>
                    <a:pt x="290" y="37"/>
                  </a:cubicBezTo>
                  <a:cubicBezTo>
                    <a:pt x="289" y="45"/>
                    <a:pt x="288" y="58"/>
                    <a:pt x="289" y="66"/>
                  </a:cubicBezTo>
                  <a:cubicBezTo>
                    <a:pt x="292" y="66"/>
                    <a:pt x="292" y="66"/>
                    <a:pt x="292" y="66"/>
                  </a:cubicBezTo>
                  <a:cubicBezTo>
                    <a:pt x="294" y="50"/>
                    <a:pt x="306" y="44"/>
                    <a:pt x="325" y="48"/>
                  </a:cubicBezTo>
                  <a:cubicBezTo>
                    <a:pt x="325" y="117"/>
                    <a:pt x="325" y="117"/>
                    <a:pt x="325" y="117"/>
                  </a:cubicBezTo>
                  <a:cubicBezTo>
                    <a:pt x="325" y="129"/>
                    <a:pt x="326" y="138"/>
                    <a:pt x="316" y="140"/>
                  </a:cubicBezTo>
                  <a:cubicBezTo>
                    <a:pt x="312" y="141"/>
                    <a:pt x="307" y="139"/>
                    <a:pt x="309" y="144"/>
                  </a:cubicBezTo>
                  <a:cubicBezTo>
                    <a:pt x="324" y="145"/>
                    <a:pt x="344" y="146"/>
                    <a:pt x="358" y="144"/>
                  </a:cubicBezTo>
                  <a:cubicBezTo>
                    <a:pt x="358" y="141"/>
                    <a:pt x="358" y="141"/>
                    <a:pt x="358" y="141"/>
                  </a:cubicBezTo>
                  <a:cubicBezTo>
                    <a:pt x="350" y="140"/>
                    <a:pt x="344" y="139"/>
                    <a:pt x="343" y="130"/>
                  </a:cubicBezTo>
                  <a:cubicBezTo>
                    <a:pt x="341" y="119"/>
                    <a:pt x="343" y="103"/>
                    <a:pt x="343" y="89"/>
                  </a:cubicBezTo>
                  <a:cubicBezTo>
                    <a:pt x="343" y="47"/>
                    <a:pt x="343" y="47"/>
                    <a:pt x="343" y="47"/>
                  </a:cubicBezTo>
                  <a:cubicBezTo>
                    <a:pt x="353" y="48"/>
                    <a:pt x="362" y="46"/>
                    <a:pt x="368" y="50"/>
                  </a:cubicBezTo>
                  <a:cubicBezTo>
                    <a:pt x="373" y="53"/>
                    <a:pt x="372" y="60"/>
                    <a:pt x="375" y="66"/>
                  </a:cubicBezTo>
                  <a:cubicBezTo>
                    <a:pt x="379" y="66"/>
                    <a:pt x="379" y="66"/>
                    <a:pt x="379" y="66"/>
                  </a:cubicBezTo>
                  <a:cubicBezTo>
                    <a:pt x="379" y="57"/>
                    <a:pt x="377" y="45"/>
                    <a:pt x="377" y="37"/>
                  </a:cubicBezTo>
                  <a:cubicBezTo>
                    <a:pt x="375" y="36"/>
                    <a:pt x="373" y="40"/>
                    <a:pt x="369" y="41"/>
                  </a:cubicBezTo>
                  <a:moveTo>
                    <a:pt x="207" y="69"/>
                  </a:moveTo>
                  <a:cubicBezTo>
                    <a:pt x="208" y="96"/>
                    <a:pt x="243" y="97"/>
                    <a:pt x="252" y="113"/>
                  </a:cubicBezTo>
                  <a:cubicBezTo>
                    <a:pt x="259" y="127"/>
                    <a:pt x="250" y="143"/>
                    <a:pt x="233" y="141"/>
                  </a:cubicBezTo>
                  <a:cubicBezTo>
                    <a:pt x="219" y="139"/>
                    <a:pt x="214" y="126"/>
                    <a:pt x="208" y="115"/>
                  </a:cubicBezTo>
                  <a:cubicBezTo>
                    <a:pt x="207" y="116"/>
                    <a:pt x="205" y="116"/>
                    <a:pt x="204" y="116"/>
                  </a:cubicBezTo>
                  <a:cubicBezTo>
                    <a:pt x="204" y="124"/>
                    <a:pt x="207" y="133"/>
                    <a:pt x="208" y="141"/>
                  </a:cubicBezTo>
                  <a:cubicBezTo>
                    <a:pt x="235" y="155"/>
                    <a:pt x="268" y="145"/>
                    <a:pt x="270" y="119"/>
                  </a:cubicBezTo>
                  <a:cubicBezTo>
                    <a:pt x="272" y="106"/>
                    <a:pt x="266" y="97"/>
                    <a:pt x="260" y="92"/>
                  </a:cubicBezTo>
                  <a:cubicBezTo>
                    <a:pt x="249" y="83"/>
                    <a:pt x="232" y="81"/>
                    <a:pt x="225" y="69"/>
                  </a:cubicBezTo>
                  <a:cubicBezTo>
                    <a:pt x="221" y="61"/>
                    <a:pt x="224" y="51"/>
                    <a:pt x="231" y="47"/>
                  </a:cubicBezTo>
                  <a:cubicBezTo>
                    <a:pt x="243" y="40"/>
                    <a:pt x="253" y="48"/>
                    <a:pt x="258" y="56"/>
                  </a:cubicBezTo>
                  <a:cubicBezTo>
                    <a:pt x="258" y="58"/>
                    <a:pt x="260" y="65"/>
                    <a:pt x="262" y="65"/>
                  </a:cubicBezTo>
                  <a:cubicBezTo>
                    <a:pt x="263" y="65"/>
                    <a:pt x="264" y="64"/>
                    <a:pt x="266" y="64"/>
                  </a:cubicBezTo>
                  <a:cubicBezTo>
                    <a:pt x="266" y="58"/>
                    <a:pt x="263" y="50"/>
                    <a:pt x="263" y="42"/>
                  </a:cubicBezTo>
                  <a:cubicBezTo>
                    <a:pt x="238" y="32"/>
                    <a:pt x="207" y="41"/>
                    <a:pt x="207" y="69"/>
                  </a:cubicBezTo>
                  <a:moveTo>
                    <a:pt x="44" y="42"/>
                  </a:moveTo>
                  <a:cubicBezTo>
                    <a:pt x="44" y="45"/>
                    <a:pt x="44" y="45"/>
                    <a:pt x="44" y="45"/>
                  </a:cubicBezTo>
                  <a:cubicBezTo>
                    <a:pt x="59" y="43"/>
                    <a:pt x="58" y="57"/>
                    <a:pt x="58" y="71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58" y="106"/>
                    <a:pt x="61" y="135"/>
                    <a:pt x="53" y="139"/>
                  </a:cubicBezTo>
                  <a:cubicBezTo>
                    <a:pt x="49" y="141"/>
                    <a:pt x="42" y="138"/>
                    <a:pt x="43" y="144"/>
                  </a:cubicBezTo>
                  <a:cubicBezTo>
                    <a:pt x="67" y="146"/>
                    <a:pt x="94" y="144"/>
                    <a:pt x="118" y="145"/>
                  </a:cubicBezTo>
                  <a:cubicBezTo>
                    <a:pt x="120" y="136"/>
                    <a:pt x="123" y="128"/>
                    <a:pt x="124" y="119"/>
                  </a:cubicBezTo>
                  <a:cubicBezTo>
                    <a:pt x="118" y="116"/>
                    <a:pt x="118" y="121"/>
                    <a:pt x="117" y="124"/>
                  </a:cubicBezTo>
                  <a:cubicBezTo>
                    <a:pt x="113" y="135"/>
                    <a:pt x="107" y="139"/>
                    <a:pt x="93" y="139"/>
                  </a:cubicBezTo>
                  <a:cubicBezTo>
                    <a:pt x="84" y="139"/>
                    <a:pt x="77" y="138"/>
                    <a:pt x="76" y="127"/>
                  </a:cubicBezTo>
                  <a:cubicBezTo>
                    <a:pt x="75" y="117"/>
                    <a:pt x="76" y="104"/>
                    <a:pt x="76" y="92"/>
                  </a:cubicBezTo>
                  <a:cubicBezTo>
                    <a:pt x="76" y="79"/>
                    <a:pt x="75" y="66"/>
                    <a:pt x="76" y="56"/>
                  </a:cubicBezTo>
                  <a:cubicBezTo>
                    <a:pt x="76" y="48"/>
                    <a:pt x="79" y="47"/>
                    <a:pt x="85" y="45"/>
                  </a:cubicBezTo>
                  <a:cubicBezTo>
                    <a:pt x="87" y="45"/>
                    <a:pt x="91" y="47"/>
                    <a:pt x="90" y="42"/>
                  </a:cubicBezTo>
                  <a:cubicBezTo>
                    <a:pt x="76" y="40"/>
                    <a:pt x="59" y="41"/>
                    <a:pt x="44" y="41"/>
                  </a:cubicBezTo>
                  <a:cubicBezTo>
                    <a:pt x="44" y="41"/>
                    <a:pt x="44" y="41"/>
                    <a:pt x="44" y="42"/>
                  </a:cubicBezTo>
                  <a:moveTo>
                    <a:pt x="139" y="42"/>
                  </a:moveTo>
                  <a:cubicBezTo>
                    <a:pt x="139" y="45"/>
                    <a:pt x="139" y="45"/>
                    <a:pt x="139" y="45"/>
                  </a:cubicBezTo>
                  <a:cubicBezTo>
                    <a:pt x="147" y="45"/>
                    <a:pt x="151" y="47"/>
                    <a:pt x="152" y="56"/>
                  </a:cubicBezTo>
                  <a:cubicBezTo>
                    <a:pt x="153" y="66"/>
                    <a:pt x="152" y="78"/>
                    <a:pt x="152" y="93"/>
                  </a:cubicBezTo>
                  <a:cubicBezTo>
                    <a:pt x="152" y="106"/>
                    <a:pt x="153" y="120"/>
                    <a:pt x="152" y="130"/>
                  </a:cubicBezTo>
                  <a:cubicBezTo>
                    <a:pt x="152" y="132"/>
                    <a:pt x="151" y="136"/>
                    <a:pt x="151" y="137"/>
                  </a:cubicBezTo>
                  <a:cubicBezTo>
                    <a:pt x="148" y="140"/>
                    <a:pt x="139" y="140"/>
                    <a:pt x="139" y="142"/>
                  </a:cubicBezTo>
                  <a:cubicBezTo>
                    <a:pt x="138" y="143"/>
                    <a:pt x="139" y="143"/>
                    <a:pt x="139" y="144"/>
                  </a:cubicBezTo>
                  <a:cubicBezTo>
                    <a:pt x="146" y="146"/>
                    <a:pt x="162" y="145"/>
                    <a:pt x="173" y="145"/>
                  </a:cubicBezTo>
                  <a:cubicBezTo>
                    <a:pt x="177" y="145"/>
                    <a:pt x="186" y="147"/>
                    <a:pt x="184" y="141"/>
                  </a:cubicBezTo>
                  <a:cubicBezTo>
                    <a:pt x="181" y="140"/>
                    <a:pt x="175" y="140"/>
                    <a:pt x="173" y="138"/>
                  </a:cubicBezTo>
                  <a:cubicBezTo>
                    <a:pt x="170" y="135"/>
                    <a:pt x="170" y="124"/>
                    <a:pt x="170" y="118"/>
                  </a:cubicBezTo>
                  <a:cubicBezTo>
                    <a:pt x="170" y="94"/>
                    <a:pt x="170" y="94"/>
                    <a:pt x="170" y="94"/>
                  </a:cubicBezTo>
                  <a:cubicBezTo>
                    <a:pt x="170" y="82"/>
                    <a:pt x="167" y="53"/>
                    <a:pt x="173" y="48"/>
                  </a:cubicBezTo>
                  <a:cubicBezTo>
                    <a:pt x="176" y="44"/>
                    <a:pt x="186" y="47"/>
                    <a:pt x="184" y="41"/>
                  </a:cubicBezTo>
                  <a:cubicBezTo>
                    <a:pt x="170" y="40"/>
                    <a:pt x="154" y="41"/>
                    <a:pt x="139" y="41"/>
                  </a:cubicBezTo>
                  <a:cubicBezTo>
                    <a:pt x="139" y="41"/>
                    <a:pt x="139" y="41"/>
                    <a:pt x="139" y="42"/>
                  </a:cubicBezTo>
                  <a:moveTo>
                    <a:pt x="397" y="45"/>
                  </a:moveTo>
                  <a:cubicBezTo>
                    <a:pt x="410" y="44"/>
                    <a:pt x="410" y="53"/>
                    <a:pt x="411" y="67"/>
                  </a:cubicBezTo>
                  <a:cubicBezTo>
                    <a:pt x="411" y="83"/>
                    <a:pt x="411" y="99"/>
                    <a:pt x="411" y="115"/>
                  </a:cubicBezTo>
                  <a:cubicBezTo>
                    <a:pt x="411" y="123"/>
                    <a:pt x="411" y="134"/>
                    <a:pt x="408" y="137"/>
                  </a:cubicBezTo>
                  <a:cubicBezTo>
                    <a:pt x="405" y="141"/>
                    <a:pt x="398" y="139"/>
                    <a:pt x="395" y="141"/>
                  </a:cubicBezTo>
                  <a:cubicBezTo>
                    <a:pt x="395" y="144"/>
                    <a:pt x="395" y="144"/>
                    <a:pt x="395" y="144"/>
                  </a:cubicBezTo>
                  <a:cubicBezTo>
                    <a:pt x="421" y="145"/>
                    <a:pt x="448" y="145"/>
                    <a:pt x="474" y="145"/>
                  </a:cubicBezTo>
                  <a:cubicBezTo>
                    <a:pt x="476" y="137"/>
                    <a:pt x="478" y="128"/>
                    <a:pt x="479" y="119"/>
                  </a:cubicBezTo>
                  <a:cubicBezTo>
                    <a:pt x="473" y="116"/>
                    <a:pt x="473" y="123"/>
                    <a:pt x="471" y="127"/>
                  </a:cubicBezTo>
                  <a:cubicBezTo>
                    <a:pt x="467" y="136"/>
                    <a:pt x="460" y="139"/>
                    <a:pt x="447" y="139"/>
                  </a:cubicBezTo>
                  <a:cubicBezTo>
                    <a:pt x="444" y="139"/>
                    <a:pt x="436" y="139"/>
                    <a:pt x="432" y="137"/>
                  </a:cubicBezTo>
                  <a:cubicBezTo>
                    <a:pt x="428" y="135"/>
                    <a:pt x="428" y="125"/>
                    <a:pt x="428" y="118"/>
                  </a:cubicBezTo>
                  <a:cubicBezTo>
                    <a:pt x="428" y="109"/>
                    <a:pt x="428" y="101"/>
                    <a:pt x="428" y="94"/>
                  </a:cubicBezTo>
                  <a:cubicBezTo>
                    <a:pt x="437" y="96"/>
                    <a:pt x="449" y="92"/>
                    <a:pt x="455" y="96"/>
                  </a:cubicBezTo>
                  <a:cubicBezTo>
                    <a:pt x="458" y="99"/>
                    <a:pt x="456" y="104"/>
                    <a:pt x="459" y="108"/>
                  </a:cubicBezTo>
                  <a:cubicBezTo>
                    <a:pt x="463" y="108"/>
                    <a:pt x="463" y="108"/>
                    <a:pt x="463" y="108"/>
                  </a:cubicBezTo>
                  <a:cubicBezTo>
                    <a:pt x="463" y="74"/>
                    <a:pt x="463" y="74"/>
                    <a:pt x="463" y="74"/>
                  </a:cubicBezTo>
                  <a:cubicBezTo>
                    <a:pt x="458" y="74"/>
                    <a:pt x="458" y="74"/>
                    <a:pt x="458" y="74"/>
                  </a:cubicBezTo>
                  <a:cubicBezTo>
                    <a:pt x="457" y="79"/>
                    <a:pt x="458" y="84"/>
                    <a:pt x="454" y="86"/>
                  </a:cubicBezTo>
                  <a:cubicBezTo>
                    <a:pt x="448" y="89"/>
                    <a:pt x="436" y="86"/>
                    <a:pt x="428" y="87"/>
                  </a:cubicBezTo>
                  <a:cubicBezTo>
                    <a:pt x="429" y="76"/>
                    <a:pt x="426" y="57"/>
                    <a:pt x="430" y="47"/>
                  </a:cubicBezTo>
                  <a:cubicBezTo>
                    <a:pt x="441" y="48"/>
                    <a:pt x="453" y="45"/>
                    <a:pt x="460" y="50"/>
                  </a:cubicBezTo>
                  <a:cubicBezTo>
                    <a:pt x="465" y="53"/>
                    <a:pt x="464" y="60"/>
                    <a:pt x="468" y="65"/>
                  </a:cubicBezTo>
                  <a:cubicBezTo>
                    <a:pt x="469" y="66"/>
                    <a:pt x="469" y="65"/>
                    <a:pt x="471" y="65"/>
                  </a:cubicBezTo>
                  <a:cubicBezTo>
                    <a:pt x="471" y="58"/>
                    <a:pt x="470" y="48"/>
                    <a:pt x="469" y="41"/>
                  </a:cubicBezTo>
                  <a:cubicBezTo>
                    <a:pt x="397" y="41"/>
                    <a:pt x="397" y="41"/>
                    <a:pt x="397" y="41"/>
                  </a:cubicBezTo>
                  <a:cubicBezTo>
                    <a:pt x="396" y="41"/>
                    <a:pt x="397" y="44"/>
                    <a:pt x="397" y="45"/>
                  </a:cubicBezTo>
                  <a:moveTo>
                    <a:pt x="495" y="42"/>
                  </a:moveTo>
                  <a:cubicBezTo>
                    <a:pt x="495" y="45"/>
                    <a:pt x="495" y="45"/>
                    <a:pt x="495" y="45"/>
                  </a:cubicBezTo>
                  <a:cubicBezTo>
                    <a:pt x="498" y="46"/>
                    <a:pt x="504" y="45"/>
                    <a:pt x="506" y="48"/>
                  </a:cubicBezTo>
                  <a:cubicBezTo>
                    <a:pt x="509" y="52"/>
                    <a:pt x="508" y="62"/>
                    <a:pt x="508" y="70"/>
                  </a:cubicBezTo>
                  <a:cubicBezTo>
                    <a:pt x="508" y="117"/>
                    <a:pt x="508" y="117"/>
                    <a:pt x="508" y="117"/>
                  </a:cubicBezTo>
                  <a:cubicBezTo>
                    <a:pt x="508" y="131"/>
                    <a:pt x="509" y="138"/>
                    <a:pt x="499" y="140"/>
                  </a:cubicBezTo>
                  <a:cubicBezTo>
                    <a:pt x="498" y="141"/>
                    <a:pt x="493" y="139"/>
                    <a:pt x="494" y="143"/>
                  </a:cubicBezTo>
                  <a:cubicBezTo>
                    <a:pt x="494" y="146"/>
                    <a:pt x="495" y="145"/>
                    <a:pt x="497" y="145"/>
                  </a:cubicBezTo>
                  <a:cubicBezTo>
                    <a:pt x="508" y="146"/>
                    <a:pt x="523" y="145"/>
                    <a:pt x="533" y="145"/>
                  </a:cubicBezTo>
                  <a:cubicBezTo>
                    <a:pt x="573" y="145"/>
                    <a:pt x="602" y="127"/>
                    <a:pt x="601" y="88"/>
                  </a:cubicBezTo>
                  <a:cubicBezTo>
                    <a:pt x="601" y="71"/>
                    <a:pt x="593" y="58"/>
                    <a:pt x="584" y="51"/>
                  </a:cubicBezTo>
                  <a:cubicBezTo>
                    <a:pt x="564" y="37"/>
                    <a:pt x="530" y="42"/>
                    <a:pt x="496" y="41"/>
                  </a:cubicBezTo>
                  <a:cubicBezTo>
                    <a:pt x="495" y="41"/>
                    <a:pt x="495" y="41"/>
                    <a:pt x="495" y="42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56" name="Freeform 21"/>
            <p:cNvSpPr>
              <a:spLocks/>
            </p:cNvSpPr>
            <p:nvPr userDrawn="1"/>
          </p:nvSpPr>
          <p:spPr bwMode="auto">
            <a:xfrm>
              <a:off x="3311" y="1478"/>
              <a:ext cx="135" cy="229"/>
            </a:xfrm>
            <a:custGeom>
              <a:avLst/>
              <a:gdLst>
                <a:gd name="T0" fmla="*/ 3 w 57"/>
                <a:gd name="T1" fmla="*/ 6 h 97"/>
                <a:gd name="T2" fmla="*/ 57 w 57"/>
                <a:gd name="T3" fmla="*/ 51 h 97"/>
                <a:gd name="T4" fmla="*/ 22 w 57"/>
                <a:gd name="T5" fmla="*/ 97 h 97"/>
                <a:gd name="T6" fmla="*/ 6 w 57"/>
                <a:gd name="T7" fmla="*/ 94 h 97"/>
                <a:gd name="T8" fmla="*/ 2 w 57"/>
                <a:gd name="T9" fmla="*/ 51 h 97"/>
                <a:gd name="T10" fmla="*/ 3 w 57"/>
                <a:gd name="T11" fmla="*/ 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97">
                  <a:moveTo>
                    <a:pt x="3" y="6"/>
                  </a:moveTo>
                  <a:cubicBezTo>
                    <a:pt x="38" y="0"/>
                    <a:pt x="57" y="18"/>
                    <a:pt x="57" y="51"/>
                  </a:cubicBezTo>
                  <a:cubicBezTo>
                    <a:pt x="57" y="74"/>
                    <a:pt x="46" y="94"/>
                    <a:pt x="22" y="97"/>
                  </a:cubicBezTo>
                  <a:cubicBezTo>
                    <a:pt x="16" y="97"/>
                    <a:pt x="9" y="97"/>
                    <a:pt x="6" y="94"/>
                  </a:cubicBezTo>
                  <a:cubicBezTo>
                    <a:pt x="0" y="89"/>
                    <a:pt x="2" y="62"/>
                    <a:pt x="2" y="51"/>
                  </a:cubicBezTo>
                  <a:cubicBezTo>
                    <a:pt x="2" y="35"/>
                    <a:pt x="1" y="20"/>
                    <a:pt x="3" y="6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00" name="Freeform 22"/>
            <p:cNvSpPr>
              <a:spLocks/>
            </p:cNvSpPr>
            <p:nvPr userDrawn="1"/>
          </p:nvSpPr>
          <p:spPr bwMode="auto">
            <a:xfrm>
              <a:off x="2914" y="1903"/>
              <a:ext cx="321" cy="501"/>
            </a:xfrm>
            <a:custGeom>
              <a:avLst/>
              <a:gdLst>
                <a:gd name="T0" fmla="*/ 123 w 136"/>
                <a:gd name="T1" fmla="*/ 13 h 212"/>
                <a:gd name="T2" fmla="*/ 123 w 136"/>
                <a:gd name="T3" fmla="*/ 43 h 212"/>
                <a:gd name="T4" fmla="*/ 46 w 136"/>
                <a:gd name="T5" fmla="*/ 44 h 212"/>
                <a:gd name="T6" fmla="*/ 44 w 136"/>
                <a:gd name="T7" fmla="*/ 64 h 212"/>
                <a:gd name="T8" fmla="*/ 75 w 136"/>
                <a:gd name="T9" fmla="*/ 85 h 212"/>
                <a:gd name="T10" fmla="*/ 132 w 136"/>
                <a:gd name="T11" fmla="*/ 133 h 212"/>
                <a:gd name="T12" fmla="*/ 129 w 136"/>
                <a:gd name="T13" fmla="*/ 176 h 212"/>
                <a:gd name="T14" fmla="*/ 77 w 136"/>
                <a:gd name="T15" fmla="*/ 209 h 212"/>
                <a:gd name="T16" fmla="*/ 5 w 136"/>
                <a:gd name="T17" fmla="*/ 200 h 212"/>
                <a:gd name="T18" fmla="*/ 5 w 136"/>
                <a:gd name="T19" fmla="*/ 170 h 212"/>
                <a:gd name="T20" fmla="*/ 90 w 136"/>
                <a:gd name="T21" fmla="*/ 166 h 212"/>
                <a:gd name="T22" fmla="*/ 91 w 136"/>
                <a:gd name="T23" fmla="*/ 146 h 212"/>
                <a:gd name="T24" fmla="*/ 51 w 136"/>
                <a:gd name="T25" fmla="*/ 119 h 212"/>
                <a:gd name="T26" fmla="*/ 2 w 136"/>
                <a:gd name="T27" fmla="*/ 57 h 212"/>
                <a:gd name="T28" fmla="*/ 24 w 136"/>
                <a:gd name="T29" fmla="*/ 18 h 212"/>
                <a:gd name="T30" fmla="*/ 123 w 136"/>
                <a:gd name="T31" fmla="*/ 1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6" h="212">
                  <a:moveTo>
                    <a:pt x="123" y="13"/>
                  </a:moveTo>
                  <a:cubicBezTo>
                    <a:pt x="123" y="43"/>
                    <a:pt x="123" y="43"/>
                    <a:pt x="123" y="43"/>
                  </a:cubicBezTo>
                  <a:cubicBezTo>
                    <a:pt x="104" y="36"/>
                    <a:pt x="59" y="24"/>
                    <a:pt x="46" y="44"/>
                  </a:cubicBezTo>
                  <a:cubicBezTo>
                    <a:pt x="43" y="49"/>
                    <a:pt x="42" y="57"/>
                    <a:pt x="44" y="64"/>
                  </a:cubicBezTo>
                  <a:cubicBezTo>
                    <a:pt x="48" y="74"/>
                    <a:pt x="64" y="80"/>
                    <a:pt x="75" y="85"/>
                  </a:cubicBezTo>
                  <a:cubicBezTo>
                    <a:pt x="99" y="96"/>
                    <a:pt x="124" y="106"/>
                    <a:pt x="132" y="133"/>
                  </a:cubicBezTo>
                  <a:cubicBezTo>
                    <a:pt x="136" y="145"/>
                    <a:pt x="135" y="163"/>
                    <a:pt x="129" y="176"/>
                  </a:cubicBezTo>
                  <a:cubicBezTo>
                    <a:pt x="120" y="194"/>
                    <a:pt x="100" y="206"/>
                    <a:pt x="77" y="209"/>
                  </a:cubicBezTo>
                  <a:cubicBezTo>
                    <a:pt x="52" y="212"/>
                    <a:pt x="27" y="207"/>
                    <a:pt x="5" y="200"/>
                  </a:cubicBezTo>
                  <a:cubicBezTo>
                    <a:pt x="5" y="170"/>
                    <a:pt x="5" y="170"/>
                    <a:pt x="5" y="170"/>
                  </a:cubicBezTo>
                  <a:cubicBezTo>
                    <a:pt x="27" y="178"/>
                    <a:pt x="79" y="190"/>
                    <a:pt x="90" y="166"/>
                  </a:cubicBezTo>
                  <a:cubicBezTo>
                    <a:pt x="93" y="161"/>
                    <a:pt x="94" y="153"/>
                    <a:pt x="91" y="146"/>
                  </a:cubicBezTo>
                  <a:cubicBezTo>
                    <a:pt x="86" y="133"/>
                    <a:pt x="64" y="126"/>
                    <a:pt x="51" y="119"/>
                  </a:cubicBezTo>
                  <a:cubicBezTo>
                    <a:pt x="26" y="107"/>
                    <a:pt x="0" y="94"/>
                    <a:pt x="2" y="57"/>
                  </a:cubicBezTo>
                  <a:cubicBezTo>
                    <a:pt x="3" y="38"/>
                    <a:pt x="12" y="27"/>
                    <a:pt x="24" y="18"/>
                  </a:cubicBezTo>
                  <a:cubicBezTo>
                    <a:pt x="47" y="2"/>
                    <a:pt x="94" y="0"/>
                    <a:pt x="123" y="13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01" name="Freeform 23"/>
            <p:cNvSpPr>
              <a:spLocks/>
            </p:cNvSpPr>
            <p:nvPr userDrawn="1"/>
          </p:nvSpPr>
          <p:spPr bwMode="auto">
            <a:xfrm>
              <a:off x="2074" y="1920"/>
              <a:ext cx="377" cy="472"/>
            </a:xfrm>
            <a:custGeom>
              <a:avLst/>
              <a:gdLst>
                <a:gd name="T0" fmla="*/ 0 w 160"/>
                <a:gd name="T1" fmla="*/ 0 h 200"/>
                <a:gd name="T2" fmla="*/ 60 w 160"/>
                <a:gd name="T3" fmla="*/ 0 h 200"/>
                <a:gd name="T4" fmla="*/ 122 w 160"/>
                <a:gd name="T5" fmla="*/ 144 h 200"/>
                <a:gd name="T6" fmla="*/ 123 w 160"/>
                <a:gd name="T7" fmla="*/ 0 h 200"/>
                <a:gd name="T8" fmla="*/ 160 w 160"/>
                <a:gd name="T9" fmla="*/ 0 h 200"/>
                <a:gd name="T10" fmla="*/ 160 w 160"/>
                <a:gd name="T11" fmla="*/ 200 h 200"/>
                <a:gd name="T12" fmla="*/ 107 w 160"/>
                <a:gd name="T13" fmla="*/ 200 h 200"/>
                <a:gd name="T14" fmla="*/ 37 w 160"/>
                <a:gd name="T15" fmla="*/ 43 h 200"/>
                <a:gd name="T16" fmla="*/ 37 w 160"/>
                <a:gd name="T17" fmla="*/ 200 h 200"/>
                <a:gd name="T18" fmla="*/ 0 w 160"/>
                <a:gd name="T19" fmla="*/ 200 h 200"/>
                <a:gd name="T20" fmla="*/ 0 w 160"/>
                <a:gd name="T21" fmla="*/ 1 h 200"/>
                <a:gd name="T22" fmla="*/ 0 w 160"/>
                <a:gd name="T23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0" h="200">
                  <a:moveTo>
                    <a:pt x="0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81" y="48"/>
                    <a:pt x="102" y="95"/>
                    <a:pt x="122" y="144"/>
                  </a:cubicBezTo>
                  <a:cubicBezTo>
                    <a:pt x="123" y="97"/>
                    <a:pt x="123" y="48"/>
                    <a:pt x="123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60" y="200"/>
                    <a:pt x="160" y="200"/>
                    <a:pt x="160" y="200"/>
                  </a:cubicBezTo>
                  <a:cubicBezTo>
                    <a:pt x="107" y="200"/>
                    <a:pt x="107" y="200"/>
                    <a:pt x="107" y="200"/>
                  </a:cubicBezTo>
                  <a:cubicBezTo>
                    <a:pt x="83" y="149"/>
                    <a:pt x="61" y="95"/>
                    <a:pt x="37" y="43"/>
                  </a:cubicBezTo>
                  <a:cubicBezTo>
                    <a:pt x="37" y="200"/>
                    <a:pt x="37" y="200"/>
                    <a:pt x="37" y="200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02" name="Freeform 24"/>
            <p:cNvSpPr>
              <a:spLocks/>
            </p:cNvSpPr>
            <p:nvPr userDrawn="1"/>
          </p:nvSpPr>
          <p:spPr bwMode="auto">
            <a:xfrm>
              <a:off x="2489" y="1920"/>
              <a:ext cx="416" cy="472"/>
            </a:xfrm>
            <a:custGeom>
              <a:avLst/>
              <a:gdLst>
                <a:gd name="T0" fmla="*/ 48 w 176"/>
                <a:gd name="T1" fmla="*/ 0 h 200"/>
                <a:gd name="T2" fmla="*/ 92 w 176"/>
                <a:gd name="T3" fmla="*/ 88 h 200"/>
                <a:gd name="T4" fmla="*/ 136 w 176"/>
                <a:gd name="T5" fmla="*/ 0 h 200"/>
                <a:gd name="T6" fmla="*/ 176 w 176"/>
                <a:gd name="T7" fmla="*/ 0 h 200"/>
                <a:gd name="T8" fmla="*/ 117 w 176"/>
                <a:gd name="T9" fmla="*/ 109 h 200"/>
                <a:gd name="T10" fmla="*/ 109 w 176"/>
                <a:gd name="T11" fmla="*/ 125 h 200"/>
                <a:gd name="T12" fmla="*/ 109 w 176"/>
                <a:gd name="T13" fmla="*/ 144 h 200"/>
                <a:gd name="T14" fmla="*/ 109 w 176"/>
                <a:gd name="T15" fmla="*/ 200 h 200"/>
                <a:gd name="T16" fmla="*/ 66 w 176"/>
                <a:gd name="T17" fmla="*/ 200 h 200"/>
                <a:gd name="T18" fmla="*/ 66 w 176"/>
                <a:gd name="T19" fmla="*/ 143 h 200"/>
                <a:gd name="T20" fmla="*/ 66 w 176"/>
                <a:gd name="T21" fmla="*/ 124 h 200"/>
                <a:gd name="T22" fmla="*/ 58 w 176"/>
                <a:gd name="T23" fmla="*/ 108 h 200"/>
                <a:gd name="T24" fmla="*/ 1 w 176"/>
                <a:gd name="T25" fmla="*/ 0 h 200"/>
                <a:gd name="T26" fmla="*/ 2 w 176"/>
                <a:gd name="T27" fmla="*/ 0 h 200"/>
                <a:gd name="T28" fmla="*/ 48 w 176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6" h="200">
                  <a:moveTo>
                    <a:pt x="48" y="0"/>
                  </a:moveTo>
                  <a:cubicBezTo>
                    <a:pt x="63" y="29"/>
                    <a:pt x="77" y="58"/>
                    <a:pt x="92" y="88"/>
                  </a:cubicBezTo>
                  <a:cubicBezTo>
                    <a:pt x="107" y="59"/>
                    <a:pt x="121" y="29"/>
                    <a:pt x="136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57" y="36"/>
                    <a:pt x="137" y="72"/>
                    <a:pt x="117" y="109"/>
                  </a:cubicBezTo>
                  <a:cubicBezTo>
                    <a:pt x="115" y="114"/>
                    <a:pt x="110" y="120"/>
                    <a:pt x="109" y="125"/>
                  </a:cubicBezTo>
                  <a:cubicBezTo>
                    <a:pt x="108" y="130"/>
                    <a:pt x="109" y="137"/>
                    <a:pt x="109" y="144"/>
                  </a:cubicBezTo>
                  <a:cubicBezTo>
                    <a:pt x="109" y="200"/>
                    <a:pt x="109" y="200"/>
                    <a:pt x="109" y="200"/>
                  </a:cubicBezTo>
                  <a:cubicBezTo>
                    <a:pt x="66" y="200"/>
                    <a:pt x="66" y="200"/>
                    <a:pt x="66" y="200"/>
                  </a:cubicBezTo>
                  <a:cubicBezTo>
                    <a:pt x="66" y="143"/>
                    <a:pt x="66" y="143"/>
                    <a:pt x="66" y="143"/>
                  </a:cubicBezTo>
                  <a:cubicBezTo>
                    <a:pt x="66" y="137"/>
                    <a:pt x="67" y="130"/>
                    <a:pt x="66" y="124"/>
                  </a:cubicBezTo>
                  <a:cubicBezTo>
                    <a:pt x="66" y="120"/>
                    <a:pt x="61" y="113"/>
                    <a:pt x="58" y="108"/>
                  </a:cubicBezTo>
                  <a:cubicBezTo>
                    <a:pt x="39" y="73"/>
                    <a:pt x="19" y="36"/>
                    <a:pt x="1" y="0"/>
                  </a:cubicBezTo>
                  <a:cubicBezTo>
                    <a:pt x="0" y="0"/>
                    <a:pt x="2" y="0"/>
                    <a:pt x="2" y="0"/>
                  </a:cubicBez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03" name="Freeform 25"/>
            <p:cNvSpPr>
              <a:spLocks/>
            </p:cNvSpPr>
            <p:nvPr userDrawn="1"/>
          </p:nvSpPr>
          <p:spPr bwMode="auto">
            <a:xfrm>
              <a:off x="3304" y="1918"/>
              <a:ext cx="297" cy="474"/>
            </a:xfrm>
            <a:custGeom>
              <a:avLst/>
              <a:gdLst>
                <a:gd name="T0" fmla="*/ 1 w 126"/>
                <a:gd name="T1" fmla="*/ 1 h 201"/>
                <a:gd name="T2" fmla="*/ 122 w 126"/>
                <a:gd name="T3" fmla="*/ 1 h 201"/>
                <a:gd name="T4" fmla="*/ 122 w 126"/>
                <a:gd name="T5" fmla="*/ 29 h 201"/>
                <a:gd name="T6" fmla="*/ 42 w 126"/>
                <a:gd name="T7" fmla="*/ 30 h 201"/>
                <a:gd name="T8" fmla="*/ 41 w 126"/>
                <a:gd name="T9" fmla="*/ 83 h 201"/>
                <a:gd name="T10" fmla="*/ 115 w 126"/>
                <a:gd name="T11" fmla="*/ 83 h 201"/>
                <a:gd name="T12" fmla="*/ 115 w 126"/>
                <a:gd name="T13" fmla="*/ 112 h 201"/>
                <a:gd name="T14" fmla="*/ 42 w 126"/>
                <a:gd name="T15" fmla="*/ 112 h 201"/>
                <a:gd name="T16" fmla="*/ 41 w 126"/>
                <a:gd name="T17" fmla="*/ 173 h 201"/>
                <a:gd name="T18" fmla="*/ 125 w 126"/>
                <a:gd name="T19" fmla="*/ 173 h 201"/>
                <a:gd name="T20" fmla="*/ 125 w 126"/>
                <a:gd name="T21" fmla="*/ 201 h 201"/>
                <a:gd name="T22" fmla="*/ 1 w 126"/>
                <a:gd name="T23" fmla="*/ 201 h 201"/>
                <a:gd name="T24" fmla="*/ 1 w 126"/>
                <a:gd name="T25" fmla="*/ 2 h 201"/>
                <a:gd name="T26" fmla="*/ 1 w 126"/>
                <a:gd name="T27" fmla="*/ 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6" h="201">
                  <a:moveTo>
                    <a:pt x="1" y="1"/>
                  </a:moveTo>
                  <a:cubicBezTo>
                    <a:pt x="41" y="1"/>
                    <a:pt x="82" y="0"/>
                    <a:pt x="122" y="1"/>
                  </a:cubicBezTo>
                  <a:cubicBezTo>
                    <a:pt x="122" y="29"/>
                    <a:pt x="122" y="29"/>
                    <a:pt x="122" y="29"/>
                  </a:cubicBezTo>
                  <a:cubicBezTo>
                    <a:pt x="96" y="30"/>
                    <a:pt x="69" y="29"/>
                    <a:pt x="42" y="30"/>
                  </a:cubicBezTo>
                  <a:cubicBezTo>
                    <a:pt x="41" y="46"/>
                    <a:pt x="43" y="66"/>
                    <a:pt x="41" y="83"/>
                  </a:cubicBezTo>
                  <a:cubicBezTo>
                    <a:pt x="65" y="84"/>
                    <a:pt x="90" y="83"/>
                    <a:pt x="115" y="83"/>
                  </a:cubicBezTo>
                  <a:cubicBezTo>
                    <a:pt x="115" y="112"/>
                    <a:pt x="115" y="112"/>
                    <a:pt x="115" y="112"/>
                  </a:cubicBezTo>
                  <a:cubicBezTo>
                    <a:pt x="42" y="112"/>
                    <a:pt x="42" y="112"/>
                    <a:pt x="42" y="112"/>
                  </a:cubicBezTo>
                  <a:cubicBezTo>
                    <a:pt x="41" y="131"/>
                    <a:pt x="43" y="154"/>
                    <a:pt x="41" y="173"/>
                  </a:cubicBezTo>
                  <a:cubicBezTo>
                    <a:pt x="125" y="173"/>
                    <a:pt x="125" y="173"/>
                    <a:pt x="125" y="173"/>
                  </a:cubicBezTo>
                  <a:cubicBezTo>
                    <a:pt x="126" y="181"/>
                    <a:pt x="125" y="192"/>
                    <a:pt x="125" y="201"/>
                  </a:cubicBezTo>
                  <a:cubicBezTo>
                    <a:pt x="1" y="201"/>
                    <a:pt x="1" y="201"/>
                    <a:pt x="1" y="20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0" y="1"/>
                    <a:pt x="1" y="1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04" name="Freeform 26"/>
            <p:cNvSpPr>
              <a:spLocks noEditPoints="1"/>
            </p:cNvSpPr>
            <p:nvPr userDrawn="1"/>
          </p:nvSpPr>
          <p:spPr bwMode="auto">
            <a:xfrm>
              <a:off x="3606" y="2322"/>
              <a:ext cx="83" cy="82"/>
            </a:xfrm>
            <a:custGeom>
              <a:avLst/>
              <a:gdLst>
                <a:gd name="T0" fmla="*/ 14 w 35"/>
                <a:gd name="T1" fmla="*/ 2 h 35"/>
                <a:gd name="T2" fmla="*/ 32 w 35"/>
                <a:gd name="T3" fmla="*/ 16 h 35"/>
                <a:gd name="T4" fmla="*/ 4 w 35"/>
                <a:gd name="T5" fmla="*/ 22 h 35"/>
                <a:gd name="T6" fmla="*/ 14 w 35"/>
                <a:gd name="T7" fmla="*/ 2 h 35"/>
                <a:gd name="T8" fmla="*/ 6 w 35"/>
                <a:gd name="T9" fmla="*/ 20 h 35"/>
                <a:gd name="T10" fmla="*/ 28 w 35"/>
                <a:gd name="T11" fmla="*/ 10 h 35"/>
                <a:gd name="T12" fmla="*/ 15 w 35"/>
                <a:gd name="T13" fmla="*/ 4 h 35"/>
                <a:gd name="T14" fmla="*/ 6 w 35"/>
                <a:gd name="T15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35">
                  <a:moveTo>
                    <a:pt x="14" y="2"/>
                  </a:moveTo>
                  <a:cubicBezTo>
                    <a:pt x="24" y="0"/>
                    <a:pt x="32" y="7"/>
                    <a:pt x="32" y="16"/>
                  </a:cubicBezTo>
                  <a:cubicBezTo>
                    <a:pt x="31" y="31"/>
                    <a:pt x="10" y="35"/>
                    <a:pt x="4" y="22"/>
                  </a:cubicBezTo>
                  <a:cubicBezTo>
                    <a:pt x="0" y="13"/>
                    <a:pt x="4" y="4"/>
                    <a:pt x="14" y="2"/>
                  </a:cubicBezTo>
                  <a:moveTo>
                    <a:pt x="6" y="20"/>
                  </a:moveTo>
                  <a:cubicBezTo>
                    <a:pt x="11" y="34"/>
                    <a:pt x="35" y="26"/>
                    <a:pt x="28" y="10"/>
                  </a:cubicBezTo>
                  <a:cubicBezTo>
                    <a:pt x="26" y="6"/>
                    <a:pt x="21" y="3"/>
                    <a:pt x="15" y="4"/>
                  </a:cubicBezTo>
                  <a:cubicBezTo>
                    <a:pt x="8" y="6"/>
                    <a:pt x="4" y="13"/>
                    <a:pt x="6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05" name="Freeform 27"/>
            <p:cNvSpPr>
              <a:spLocks noEditPoints="1"/>
            </p:cNvSpPr>
            <p:nvPr userDrawn="1"/>
          </p:nvSpPr>
          <p:spPr bwMode="auto">
            <a:xfrm>
              <a:off x="3632" y="2338"/>
              <a:ext cx="33" cy="45"/>
            </a:xfrm>
            <a:custGeom>
              <a:avLst/>
              <a:gdLst>
                <a:gd name="T0" fmla="*/ 1 w 14"/>
                <a:gd name="T1" fmla="*/ 0 h 19"/>
                <a:gd name="T2" fmla="*/ 12 w 14"/>
                <a:gd name="T3" fmla="*/ 2 h 19"/>
                <a:gd name="T4" fmla="*/ 9 w 14"/>
                <a:gd name="T5" fmla="*/ 10 h 19"/>
                <a:gd name="T6" fmla="*/ 13 w 14"/>
                <a:gd name="T7" fmla="*/ 16 h 19"/>
                <a:gd name="T8" fmla="*/ 4 w 14"/>
                <a:gd name="T9" fmla="*/ 10 h 19"/>
                <a:gd name="T10" fmla="*/ 3 w 14"/>
                <a:gd name="T11" fmla="*/ 17 h 19"/>
                <a:gd name="T12" fmla="*/ 0 w 14"/>
                <a:gd name="T13" fmla="*/ 17 h 19"/>
                <a:gd name="T14" fmla="*/ 1 w 14"/>
                <a:gd name="T15" fmla="*/ 0 h 19"/>
                <a:gd name="T16" fmla="*/ 3 w 14"/>
                <a:gd name="T17" fmla="*/ 8 h 19"/>
                <a:gd name="T18" fmla="*/ 10 w 14"/>
                <a:gd name="T19" fmla="*/ 4 h 19"/>
                <a:gd name="T20" fmla="*/ 3 w 14"/>
                <a:gd name="T21" fmla="*/ 2 h 19"/>
                <a:gd name="T22" fmla="*/ 3 w 14"/>
                <a:gd name="T2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9">
                  <a:moveTo>
                    <a:pt x="1" y="0"/>
                  </a:moveTo>
                  <a:cubicBezTo>
                    <a:pt x="5" y="0"/>
                    <a:pt x="9" y="0"/>
                    <a:pt x="12" y="2"/>
                  </a:cubicBezTo>
                  <a:cubicBezTo>
                    <a:pt x="14" y="5"/>
                    <a:pt x="13" y="10"/>
                    <a:pt x="9" y="10"/>
                  </a:cubicBezTo>
                  <a:cubicBezTo>
                    <a:pt x="10" y="12"/>
                    <a:pt x="12" y="14"/>
                    <a:pt x="13" y="16"/>
                  </a:cubicBezTo>
                  <a:cubicBezTo>
                    <a:pt x="7" y="19"/>
                    <a:pt x="9" y="9"/>
                    <a:pt x="4" y="10"/>
                  </a:cubicBezTo>
                  <a:cubicBezTo>
                    <a:pt x="3" y="11"/>
                    <a:pt x="4" y="15"/>
                    <a:pt x="3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" y="12"/>
                    <a:pt x="0" y="4"/>
                    <a:pt x="1" y="0"/>
                  </a:cubicBezTo>
                  <a:moveTo>
                    <a:pt x="3" y="8"/>
                  </a:moveTo>
                  <a:cubicBezTo>
                    <a:pt x="7" y="8"/>
                    <a:pt x="11" y="8"/>
                    <a:pt x="10" y="4"/>
                  </a:cubicBezTo>
                  <a:cubicBezTo>
                    <a:pt x="9" y="2"/>
                    <a:pt x="6" y="2"/>
                    <a:pt x="3" y="2"/>
                  </a:cubicBezTo>
                  <a:lnTo>
                    <a:pt x="3" y="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06" name="Freeform 28"/>
            <p:cNvSpPr>
              <a:spLocks/>
            </p:cNvSpPr>
            <p:nvPr userDrawn="1"/>
          </p:nvSpPr>
          <p:spPr bwMode="auto">
            <a:xfrm>
              <a:off x="2099" y="847"/>
              <a:ext cx="303" cy="428"/>
            </a:xfrm>
            <a:custGeom>
              <a:avLst/>
              <a:gdLst>
                <a:gd name="T0" fmla="*/ 0 w 303"/>
                <a:gd name="T1" fmla="*/ 428 h 428"/>
                <a:gd name="T2" fmla="*/ 0 w 303"/>
                <a:gd name="T3" fmla="*/ 0 h 428"/>
                <a:gd name="T4" fmla="*/ 88 w 303"/>
                <a:gd name="T5" fmla="*/ 0 h 428"/>
                <a:gd name="T6" fmla="*/ 88 w 303"/>
                <a:gd name="T7" fmla="*/ 355 h 428"/>
                <a:gd name="T8" fmla="*/ 303 w 303"/>
                <a:gd name="T9" fmla="*/ 355 h 428"/>
                <a:gd name="T10" fmla="*/ 303 w 303"/>
                <a:gd name="T11" fmla="*/ 428 h 428"/>
                <a:gd name="T12" fmla="*/ 0 w 303"/>
                <a:gd name="T13" fmla="*/ 428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3" h="428">
                  <a:moveTo>
                    <a:pt x="0" y="428"/>
                  </a:moveTo>
                  <a:lnTo>
                    <a:pt x="0" y="0"/>
                  </a:lnTo>
                  <a:lnTo>
                    <a:pt x="88" y="0"/>
                  </a:lnTo>
                  <a:lnTo>
                    <a:pt x="88" y="355"/>
                  </a:lnTo>
                  <a:lnTo>
                    <a:pt x="303" y="355"/>
                  </a:lnTo>
                  <a:lnTo>
                    <a:pt x="303" y="428"/>
                  </a:lnTo>
                  <a:lnTo>
                    <a:pt x="0" y="42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07" name="Freeform 29"/>
            <p:cNvSpPr>
              <a:spLocks/>
            </p:cNvSpPr>
            <p:nvPr userDrawn="1"/>
          </p:nvSpPr>
          <p:spPr bwMode="auto">
            <a:xfrm>
              <a:off x="2444" y="843"/>
              <a:ext cx="399" cy="432"/>
            </a:xfrm>
            <a:custGeom>
              <a:avLst/>
              <a:gdLst>
                <a:gd name="T0" fmla="*/ 0 w 399"/>
                <a:gd name="T1" fmla="*/ 432 h 432"/>
                <a:gd name="T2" fmla="*/ 147 w 399"/>
                <a:gd name="T3" fmla="*/ 205 h 432"/>
                <a:gd name="T4" fmla="*/ 14 w 399"/>
                <a:gd name="T5" fmla="*/ 0 h 432"/>
                <a:gd name="T6" fmla="*/ 116 w 399"/>
                <a:gd name="T7" fmla="*/ 0 h 432"/>
                <a:gd name="T8" fmla="*/ 201 w 399"/>
                <a:gd name="T9" fmla="*/ 139 h 432"/>
                <a:gd name="T10" fmla="*/ 286 w 399"/>
                <a:gd name="T11" fmla="*/ 0 h 432"/>
                <a:gd name="T12" fmla="*/ 388 w 399"/>
                <a:gd name="T13" fmla="*/ 0 h 432"/>
                <a:gd name="T14" fmla="*/ 253 w 399"/>
                <a:gd name="T15" fmla="*/ 210 h 432"/>
                <a:gd name="T16" fmla="*/ 399 w 399"/>
                <a:gd name="T17" fmla="*/ 432 h 432"/>
                <a:gd name="T18" fmla="*/ 295 w 399"/>
                <a:gd name="T19" fmla="*/ 432 h 432"/>
                <a:gd name="T20" fmla="*/ 201 w 399"/>
                <a:gd name="T21" fmla="*/ 283 h 432"/>
                <a:gd name="T22" fmla="*/ 104 w 399"/>
                <a:gd name="T23" fmla="*/ 432 h 432"/>
                <a:gd name="T24" fmla="*/ 0 w 399"/>
                <a:gd name="T25" fmla="*/ 43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9" h="432">
                  <a:moveTo>
                    <a:pt x="0" y="432"/>
                  </a:moveTo>
                  <a:lnTo>
                    <a:pt x="147" y="205"/>
                  </a:lnTo>
                  <a:lnTo>
                    <a:pt x="14" y="0"/>
                  </a:lnTo>
                  <a:lnTo>
                    <a:pt x="116" y="0"/>
                  </a:lnTo>
                  <a:lnTo>
                    <a:pt x="201" y="139"/>
                  </a:lnTo>
                  <a:lnTo>
                    <a:pt x="286" y="0"/>
                  </a:lnTo>
                  <a:lnTo>
                    <a:pt x="388" y="0"/>
                  </a:lnTo>
                  <a:lnTo>
                    <a:pt x="253" y="210"/>
                  </a:lnTo>
                  <a:lnTo>
                    <a:pt x="399" y="432"/>
                  </a:lnTo>
                  <a:lnTo>
                    <a:pt x="295" y="432"/>
                  </a:lnTo>
                  <a:lnTo>
                    <a:pt x="201" y="283"/>
                  </a:lnTo>
                  <a:lnTo>
                    <a:pt x="104" y="432"/>
                  </a:lnTo>
                  <a:lnTo>
                    <a:pt x="0" y="43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08" name="Freeform 30"/>
            <p:cNvSpPr>
              <a:spLocks/>
            </p:cNvSpPr>
            <p:nvPr userDrawn="1"/>
          </p:nvSpPr>
          <p:spPr bwMode="auto">
            <a:xfrm>
              <a:off x="2914" y="843"/>
              <a:ext cx="295" cy="432"/>
            </a:xfrm>
            <a:custGeom>
              <a:avLst/>
              <a:gdLst>
                <a:gd name="T0" fmla="*/ 0 w 295"/>
                <a:gd name="T1" fmla="*/ 432 h 432"/>
                <a:gd name="T2" fmla="*/ 0 w 295"/>
                <a:gd name="T3" fmla="*/ 0 h 432"/>
                <a:gd name="T4" fmla="*/ 295 w 295"/>
                <a:gd name="T5" fmla="*/ 0 h 432"/>
                <a:gd name="T6" fmla="*/ 295 w 295"/>
                <a:gd name="T7" fmla="*/ 73 h 432"/>
                <a:gd name="T8" fmla="*/ 88 w 295"/>
                <a:gd name="T9" fmla="*/ 73 h 432"/>
                <a:gd name="T10" fmla="*/ 88 w 295"/>
                <a:gd name="T11" fmla="*/ 174 h 432"/>
                <a:gd name="T12" fmla="*/ 267 w 295"/>
                <a:gd name="T13" fmla="*/ 174 h 432"/>
                <a:gd name="T14" fmla="*/ 267 w 295"/>
                <a:gd name="T15" fmla="*/ 248 h 432"/>
                <a:gd name="T16" fmla="*/ 88 w 295"/>
                <a:gd name="T17" fmla="*/ 248 h 432"/>
                <a:gd name="T18" fmla="*/ 88 w 295"/>
                <a:gd name="T19" fmla="*/ 432 h 432"/>
                <a:gd name="T20" fmla="*/ 0 w 295"/>
                <a:gd name="T21" fmla="*/ 43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5" h="432">
                  <a:moveTo>
                    <a:pt x="0" y="432"/>
                  </a:moveTo>
                  <a:lnTo>
                    <a:pt x="0" y="0"/>
                  </a:lnTo>
                  <a:lnTo>
                    <a:pt x="295" y="0"/>
                  </a:lnTo>
                  <a:lnTo>
                    <a:pt x="295" y="73"/>
                  </a:lnTo>
                  <a:lnTo>
                    <a:pt x="88" y="73"/>
                  </a:lnTo>
                  <a:lnTo>
                    <a:pt x="88" y="174"/>
                  </a:lnTo>
                  <a:lnTo>
                    <a:pt x="267" y="174"/>
                  </a:lnTo>
                  <a:lnTo>
                    <a:pt x="267" y="248"/>
                  </a:lnTo>
                  <a:lnTo>
                    <a:pt x="88" y="248"/>
                  </a:lnTo>
                  <a:lnTo>
                    <a:pt x="88" y="432"/>
                  </a:lnTo>
                  <a:lnTo>
                    <a:pt x="0" y="43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09" name="Freeform 31"/>
            <p:cNvSpPr>
              <a:spLocks/>
            </p:cNvSpPr>
            <p:nvPr userDrawn="1"/>
          </p:nvSpPr>
          <p:spPr bwMode="auto">
            <a:xfrm>
              <a:off x="3273" y="843"/>
              <a:ext cx="343" cy="432"/>
            </a:xfrm>
            <a:custGeom>
              <a:avLst/>
              <a:gdLst>
                <a:gd name="T0" fmla="*/ 128 w 343"/>
                <a:gd name="T1" fmla="*/ 432 h 432"/>
                <a:gd name="T2" fmla="*/ 128 w 343"/>
                <a:gd name="T3" fmla="*/ 73 h 432"/>
                <a:gd name="T4" fmla="*/ 0 w 343"/>
                <a:gd name="T5" fmla="*/ 73 h 432"/>
                <a:gd name="T6" fmla="*/ 0 w 343"/>
                <a:gd name="T7" fmla="*/ 0 h 432"/>
                <a:gd name="T8" fmla="*/ 343 w 343"/>
                <a:gd name="T9" fmla="*/ 0 h 432"/>
                <a:gd name="T10" fmla="*/ 343 w 343"/>
                <a:gd name="T11" fmla="*/ 73 h 432"/>
                <a:gd name="T12" fmla="*/ 215 w 343"/>
                <a:gd name="T13" fmla="*/ 73 h 432"/>
                <a:gd name="T14" fmla="*/ 215 w 343"/>
                <a:gd name="T15" fmla="*/ 432 h 432"/>
                <a:gd name="T16" fmla="*/ 128 w 343"/>
                <a:gd name="T17" fmla="*/ 43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432">
                  <a:moveTo>
                    <a:pt x="128" y="432"/>
                  </a:moveTo>
                  <a:lnTo>
                    <a:pt x="128" y="73"/>
                  </a:lnTo>
                  <a:lnTo>
                    <a:pt x="0" y="73"/>
                  </a:lnTo>
                  <a:lnTo>
                    <a:pt x="0" y="0"/>
                  </a:lnTo>
                  <a:lnTo>
                    <a:pt x="343" y="0"/>
                  </a:lnTo>
                  <a:lnTo>
                    <a:pt x="343" y="73"/>
                  </a:lnTo>
                  <a:lnTo>
                    <a:pt x="215" y="73"/>
                  </a:lnTo>
                  <a:lnTo>
                    <a:pt x="215" y="432"/>
                  </a:lnTo>
                  <a:lnTo>
                    <a:pt x="128" y="43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US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</p:grpSp>
      <p:grpSp>
        <p:nvGrpSpPr>
          <p:cNvPr id="110" name="Group 4"/>
          <p:cNvGrpSpPr>
            <a:grpSpLocks noChangeAspect="1"/>
          </p:cNvGrpSpPr>
          <p:nvPr userDrawn="1"/>
        </p:nvGrpSpPr>
        <p:grpSpPr bwMode="auto">
          <a:xfrm>
            <a:off x="682133" y="4338904"/>
            <a:ext cx="2083131" cy="424502"/>
            <a:chOff x="235" y="1993"/>
            <a:chExt cx="5290" cy="1078"/>
          </a:xfrm>
        </p:grpSpPr>
        <p:sp>
          <p:nvSpPr>
            <p:cNvPr id="111" name="Freeform 5"/>
            <p:cNvSpPr>
              <a:spLocks noEditPoints="1"/>
            </p:cNvSpPr>
            <p:nvPr/>
          </p:nvSpPr>
          <p:spPr bwMode="auto">
            <a:xfrm>
              <a:off x="869" y="2262"/>
              <a:ext cx="167" cy="241"/>
            </a:xfrm>
            <a:custGeom>
              <a:avLst/>
              <a:gdLst>
                <a:gd name="T0" fmla="*/ 54 w 71"/>
                <a:gd name="T1" fmla="*/ 47 h 101"/>
                <a:gd name="T2" fmla="*/ 71 w 71"/>
                <a:gd name="T3" fmla="*/ 69 h 101"/>
                <a:gd name="T4" fmla="*/ 34 w 71"/>
                <a:gd name="T5" fmla="*/ 101 h 101"/>
                <a:gd name="T6" fmla="*/ 0 w 71"/>
                <a:gd name="T7" fmla="*/ 101 h 101"/>
                <a:gd name="T8" fmla="*/ 0 w 71"/>
                <a:gd name="T9" fmla="*/ 0 h 101"/>
                <a:gd name="T10" fmla="*/ 34 w 71"/>
                <a:gd name="T11" fmla="*/ 0 h 101"/>
                <a:gd name="T12" fmla="*/ 66 w 71"/>
                <a:gd name="T13" fmla="*/ 23 h 101"/>
                <a:gd name="T14" fmla="*/ 54 w 71"/>
                <a:gd name="T15" fmla="*/ 47 h 101"/>
                <a:gd name="T16" fmla="*/ 34 w 71"/>
                <a:gd name="T17" fmla="*/ 39 h 101"/>
                <a:gd name="T18" fmla="*/ 34 w 71"/>
                <a:gd name="T19" fmla="*/ 22 h 101"/>
                <a:gd name="T20" fmla="*/ 24 w 71"/>
                <a:gd name="T21" fmla="*/ 22 h 101"/>
                <a:gd name="T22" fmla="*/ 24 w 71"/>
                <a:gd name="T23" fmla="*/ 39 h 101"/>
                <a:gd name="T24" fmla="*/ 34 w 71"/>
                <a:gd name="T25" fmla="*/ 39 h 101"/>
                <a:gd name="T26" fmla="*/ 24 w 71"/>
                <a:gd name="T27" fmla="*/ 57 h 101"/>
                <a:gd name="T28" fmla="*/ 24 w 71"/>
                <a:gd name="T29" fmla="*/ 78 h 101"/>
                <a:gd name="T30" fmla="*/ 34 w 71"/>
                <a:gd name="T31" fmla="*/ 78 h 101"/>
                <a:gd name="T32" fmla="*/ 34 w 71"/>
                <a:gd name="T33" fmla="*/ 57 h 101"/>
                <a:gd name="T34" fmla="*/ 24 w 71"/>
                <a:gd name="T35" fmla="*/ 57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1" h="101">
                  <a:moveTo>
                    <a:pt x="54" y="47"/>
                  </a:moveTo>
                  <a:cubicBezTo>
                    <a:pt x="66" y="50"/>
                    <a:pt x="71" y="63"/>
                    <a:pt x="71" y="69"/>
                  </a:cubicBezTo>
                  <a:cubicBezTo>
                    <a:pt x="71" y="92"/>
                    <a:pt x="53" y="101"/>
                    <a:pt x="34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51" y="0"/>
                    <a:pt x="64" y="8"/>
                    <a:pt x="66" y="23"/>
                  </a:cubicBezTo>
                  <a:cubicBezTo>
                    <a:pt x="68" y="33"/>
                    <a:pt x="64" y="43"/>
                    <a:pt x="54" y="47"/>
                  </a:cubicBezTo>
                  <a:close/>
                  <a:moveTo>
                    <a:pt x="34" y="39"/>
                  </a:moveTo>
                  <a:cubicBezTo>
                    <a:pt x="46" y="39"/>
                    <a:pt x="46" y="22"/>
                    <a:pt x="3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39"/>
                    <a:pt x="24" y="39"/>
                    <a:pt x="24" y="39"/>
                  </a:cubicBezTo>
                  <a:lnTo>
                    <a:pt x="34" y="39"/>
                  </a:lnTo>
                  <a:close/>
                  <a:moveTo>
                    <a:pt x="24" y="57"/>
                  </a:moveTo>
                  <a:cubicBezTo>
                    <a:pt x="24" y="78"/>
                    <a:pt x="24" y="78"/>
                    <a:pt x="24" y="78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50" y="78"/>
                    <a:pt x="50" y="57"/>
                    <a:pt x="34" y="57"/>
                  </a:cubicBezTo>
                  <a:lnTo>
                    <a:pt x="24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12" name="Freeform 6"/>
            <p:cNvSpPr>
              <a:spLocks noEditPoints="1"/>
            </p:cNvSpPr>
            <p:nvPr/>
          </p:nvSpPr>
          <p:spPr bwMode="auto">
            <a:xfrm>
              <a:off x="1060" y="2262"/>
              <a:ext cx="185" cy="241"/>
            </a:xfrm>
            <a:custGeom>
              <a:avLst/>
              <a:gdLst>
                <a:gd name="T0" fmla="*/ 78 w 78"/>
                <a:gd name="T1" fmla="*/ 101 h 101"/>
                <a:gd name="T2" fmla="*/ 50 w 78"/>
                <a:gd name="T3" fmla="*/ 101 h 101"/>
                <a:gd name="T4" fmla="*/ 29 w 78"/>
                <a:gd name="T5" fmla="*/ 66 h 101"/>
                <a:gd name="T6" fmla="*/ 26 w 78"/>
                <a:gd name="T7" fmla="*/ 66 h 101"/>
                <a:gd name="T8" fmla="*/ 26 w 78"/>
                <a:gd name="T9" fmla="*/ 101 h 101"/>
                <a:gd name="T10" fmla="*/ 0 w 78"/>
                <a:gd name="T11" fmla="*/ 101 h 101"/>
                <a:gd name="T12" fmla="*/ 0 w 78"/>
                <a:gd name="T13" fmla="*/ 0 h 101"/>
                <a:gd name="T14" fmla="*/ 36 w 78"/>
                <a:gd name="T15" fmla="*/ 0 h 101"/>
                <a:gd name="T16" fmla="*/ 68 w 78"/>
                <a:gd name="T17" fmla="*/ 15 h 101"/>
                <a:gd name="T18" fmla="*/ 73 w 78"/>
                <a:gd name="T19" fmla="*/ 33 h 101"/>
                <a:gd name="T20" fmla="*/ 53 w 78"/>
                <a:gd name="T21" fmla="*/ 61 h 101"/>
                <a:gd name="T22" fmla="*/ 78 w 78"/>
                <a:gd name="T23" fmla="*/ 101 h 101"/>
                <a:gd name="T24" fmla="*/ 36 w 78"/>
                <a:gd name="T25" fmla="*/ 44 h 101"/>
                <a:gd name="T26" fmla="*/ 48 w 78"/>
                <a:gd name="T27" fmla="*/ 33 h 101"/>
                <a:gd name="T28" fmla="*/ 36 w 78"/>
                <a:gd name="T29" fmla="*/ 22 h 101"/>
                <a:gd name="T30" fmla="*/ 25 w 78"/>
                <a:gd name="T31" fmla="*/ 22 h 101"/>
                <a:gd name="T32" fmla="*/ 25 w 78"/>
                <a:gd name="T33" fmla="*/ 44 h 101"/>
                <a:gd name="T34" fmla="*/ 36 w 78"/>
                <a:gd name="T35" fmla="*/ 44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1">
                  <a:moveTo>
                    <a:pt x="78" y="101"/>
                  </a:moveTo>
                  <a:cubicBezTo>
                    <a:pt x="50" y="101"/>
                    <a:pt x="50" y="101"/>
                    <a:pt x="50" y="101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101"/>
                    <a:pt x="26" y="101"/>
                    <a:pt x="26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0" y="0"/>
                    <a:pt x="62" y="5"/>
                    <a:pt x="68" y="15"/>
                  </a:cubicBezTo>
                  <a:cubicBezTo>
                    <a:pt x="72" y="21"/>
                    <a:pt x="73" y="27"/>
                    <a:pt x="73" y="33"/>
                  </a:cubicBezTo>
                  <a:cubicBezTo>
                    <a:pt x="73" y="45"/>
                    <a:pt x="66" y="57"/>
                    <a:pt x="53" y="61"/>
                  </a:cubicBezTo>
                  <a:lnTo>
                    <a:pt x="78" y="101"/>
                  </a:lnTo>
                  <a:close/>
                  <a:moveTo>
                    <a:pt x="36" y="44"/>
                  </a:moveTo>
                  <a:cubicBezTo>
                    <a:pt x="44" y="44"/>
                    <a:pt x="48" y="39"/>
                    <a:pt x="48" y="33"/>
                  </a:cubicBezTo>
                  <a:cubicBezTo>
                    <a:pt x="48" y="27"/>
                    <a:pt x="44" y="22"/>
                    <a:pt x="36" y="22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5" y="44"/>
                    <a:pt x="25" y="44"/>
                    <a:pt x="25" y="44"/>
                  </a:cubicBezTo>
                  <a:lnTo>
                    <a:pt x="36" y="4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13" name="Rectangle 7"/>
            <p:cNvSpPr>
              <a:spLocks noChangeArrowheads="1"/>
            </p:cNvSpPr>
            <p:nvPr/>
          </p:nvSpPr>
          <p:spPr bwMode="auto">
            <a:xfrm>
              <a:off x="1261" y="2262"/>
              <a:ext cx="59" cy="24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14" name="Freeform 8"/>
            <p:cNvSpPr>
              <a:spLocks/>
            </p:cNvSpPr>
            <p:nvPr/>
          </p:nvSpPr>
          <p:spPr bwMode="auto">
            <a:xfrm>
              <a:off x="1351" y="2257"/>
              <a:ext cx="241" cy="248"/>
            </a:xfrm>
            <a:custGeom>
              <a:avLst/>
              <a:gdLst>
                <a:gd name="T0" fmla="*/ 95 w 102"/>
                <a:gd name="T1" fmla="*/ 22 h 104"/>
                <a:gd name="T2" fmla="*/ 77 w 102"/>
                <a:gd name="T3" fmla="*/ 34 h 104"/>
                <a:gd name="T4" fmla="*/ 26 w 102"/>
                <a:gd name="T5" fmla="*/ 53 h 104"/>
                <a:gd name="T6" fmla="*/ 52 w 102"/>
                <a:gd name="T7" fmla="*/ 82 h 104"/>
                <a:gd name="T8" fmla="*/ 77 w 102"/>
                <a:gd name="T9" fmla="*/ 65 h 104"/>
                <a:gd name="T10" fmla="*/ 47 w 102"/>
                <a:gd name="T11" fmla="*/ 65 h 104"/>
                <a:gd name="T12" fmla="*/ 47 w 102"/>
                <a:gd name="T13" fmla="*/ 45 h 104"/>
                <a:gd name="T14" fmla="*/ 101 w 102"/>
                <a:gd name="T15" fmla="*/ 45 h 104"/>
                <a:gd name="T16" fmla="*/ 102 w 102"/>
                <a:gd name="T17" fmla="*/ 52 h 104"/>
                <a:gd name="T18" fmla="*/ 52 w 102"/>
                <a:gd name="T19" fmla="*/ 104 h 104"/>
                <a:gd name="T20" fmla="*/ 0 w 102"/>
                <a:gd name="T21" fmla="*/ 53 h 104"/>
                <a:gd name="T22" fmla="*/ 52 w 102"/>
                <a:gd name="T23" fmla="*/ 0 h 104"/>
                <a:gd name="T24" fmla="*/ 95 w 102"/>
                <a:gd name="T25" fmla="*/ 2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2" h="104">
                  <a:moveTo>
                    <a:pt x="95" y="22"/>
                  </a:moveTo>
                  <a:cubicBezTo>
                    <a:pt x="77" y="34"/>
                    <a:pt x="77" y="34"/>
                    <a:pt x="77" y="34"/>
                  </a:cubicBezTo>
                  <a:cubicBezTo>
                    <a:pt x="60" y="13"/>
                    <a:pt x="26" y="22"/>
                    <a:pt x="26" y="53"/>
                  </a:cubicBezTo>
                  <a:cubicBezTo>
                    <a:pt x="26" y="66"/>
                    <a:pt x="35" y="82"/>
                    <a:pt x="52" y="82"/>
                  </a:cubicBezTo>
                  <a:cubicBezTo>
                    <a:pt x="62" y="82"/>
                    <a:pt x="75" y="79"/>
                    <a:pt x="7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2" y="50"/>
                    <a:pt x="102" y="51"/>
                    <a:pt x="102" y="52"/>
                  </a:cubicBezTo>
                  <a:cubicBezTo>
                    <a:pt x="102" y="86"/>
                    <a:pt x="82" y="104"/>
                    <a:pt x="52" y="104"/>
                  </a:cubicBezTo>
                  <a:cubicBezTo>
                    <a:pt x="18" y="104"/>
                    <a:pt x="1" y="79"/>
                    <a:pt x="0" y="53"/>
                  </a:cubicBezTo>
                  <a:cubicBezTo>
                    <a:pt x="0" y="26"/>
                    <a:pt x="18" y="0"/>
                    <a:pt x="52" y="0"/>
                  </a:cubicBezTo>
                  <a:cubicBezTo>
                    <a:pt x="69" y="0"/>
                    <a:pt x="82" y="5"/>
                    <a:pt x="95" y="2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15" name="Freeform 9"/>
            <p:cNvSpPr>
              <a:spLocks/>
            </p:cNvSpPr>
            <p:nvPr/>
          </p:nvSpPr>
          <p:spPr bwMode="auto">
            <a:xfrm>
              <a:off x="1621" y="2262"/>
              <a:ext cx="186" cy="241"/>
            </a:xfrm>
            <a:custGeom>
              <a:avLst/>
              <a:gdLst>
                <a:gd name="T0" fmla="*/ 127 w 186"/>
                <a:gd name="T1" fmla="*/ 148 h 241"/>
                <a:gd name="T2" fmla="*/ 61 w 186"/>
                <a:gd name="T3" fmla="*/ 148 h 241"/>
                <a:gd name="T4" fmla="*/ 61 w 186"/>
                <a:gd name="T5" fmla="*/ 241 h 241"/>
                <a:gd name="T6" fmla="*/ 0 w 186"/>
                <a:gd name="T7" fmla="*/ 241 h 241"/>
                <a:gd name="T8" fmla="*/ 0 w 186"/>
                <a:gd name="T9" fmla="*/ 0 h 241"/>
                <a:gd name="T10" fmla="*/ 61 w 186"/>
                <a:gd name="T11" fmla="*/ 0 h 241"/>
                <a:gd name="T12" fmla="*/ 61 w 186"/>
                <a:gd name="T13" fmla="*/ 93 h 241"/>
                <a:gd name="T14" fmla="*/ 127 w 186"/>
                <a:gd name="T15" fmla="*/ 93 h 241"/>
                <a:gd name="T16" fmla="*/ 127 w 186"/>
                <a:gd name="T17" fmla="*/ 0 h 241"/>
                <a:gd name="T18" fmla="*/ 186 w 186"/>
                <a:gd name="T19" fmla="*/ 0 h 241"/>
                <a:gd name="T20" fmla="*/ 186 w 186"/>
                <a:gd name="T21" fmla="*/ 241 h 241"/>
                <a:gd name="T22" fmla="*/ 127 w 186"/>
                <a:gd name="T23" fmla="*/ 241 h 241"/>
                <a:gd name="T24" fmla="*/ 127 w 186"/>
                <a:gd name="T25" fmla="*/ 148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" h="241">
                  <a:moveTo>
                    <a:pt x="127" y="148"/>
                  </a:moveTo>
                  <a:lnTo>
                    <a:pt x="61" y="148"/>
                  </a:lnTo>
                  <a:lnTo>
                    <a:pt x="61" y="241"/>
                  </a:lnTo>
                  <a:lnTo>
                    <a:pt x="0" y="241"/>
                  </a:lnTo>
                  <a:lnTo>
                    <a:pt x="0" y="0"/>
                  </a:lnTo>
                  <a:lnTo>
                    <a:pt x="61" y="0"/>
                  </a:lnTo>
                  <a:lnTo>
                    <a:pt x="61" y="93"/>
                  </a:lnTo>
                  <a:lnTo>
                    <a:pt x="127" y="93"/>
                  </a:lnTo>
                  <a:lnTo>
                    <a:pt x="127" y="0"/>
                  </a:lnTo>
                  <a:lnTo>
                    <a:pt x="186" y="0"/>
                  </a:lnTo>
                  <a:lnTo>
                    <a:pt x="186" y="241"/>
                  </a:lnTo>
                  <a:lnTo>
                    <a:pt x="127" y="241"/>
                  </a:lnTo>
                  <a:lnTo>
                    <a:pt x="127" y="14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16" name="Freeform 10"/>
            <p:cNvSpPr>
              <a:spLocks/>
            </p:cNvSpPr>
            <p:nvPr/>
          </p:nvSpPr>
          <p:spPr bwMode="auto">
            <a:xfrm>
              <a:off x="1829" y="2262"/>
              <a:ext cx="172" cy="241"/>
            </a:xfrm>
            <a:custGeom>
              <a:avLst/>
              <a:gdLst>
                <a:gd name="T0" fmla="*/ 172 w 172"/>
                <a:gd name="T1" fmla="*/ 0 h 241"/>
                <a:gd name="T2" fmla="*/ 172 w 172"/>
                <a:gd name="T3" fmla="*/ 53 h 241"/>
                <a:gd name="T4" fmla="*/ 116 w 172"/>
                <a:gd name="T5" fmla="*/ 53 h 241"/>
                <a:gd name="T6" fmla="*/ 116 w 172"/>
                <a:gd name="T7" fmla="*/ 241 h 241"/>
                <a:gd name="T8" fmla="*/ 54 w 172"/>
                <a:gd name="T9" fmla="*/ 241 h 241"/>
                <a:gd name="T10" fmla="*/ 54 w 172"/>
                <a:gd name="T11" fmla="*/ 53 h 241"/>
                <a:gd name="T12" fmla="*/ 0 w 172"/>
                <a:gd name="T13" fmla="*/ 53 h 241"/>
                <a:gd name="T14" fmla="*/ 0 w 172"/>
                <a:gd name="T15" fmla="*/ 0 h 241"/>
                <a:gd name="T16" fmla="*/ 172 w 172"/>
                <a:gd name="T1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2" h="241">
                  <a:moveTo>
                    <a:pt x="172" y="0"/>
                  </a:moveTo>
                  <a:lnTo>
                    <a:pt x="172" y="53"/>
                  </a:lnTo>
                  <a:lnTo>
                    <a:pt x="116" y="53"/>
                  </a:lnTo>
                  <a:lnTo>
                    <a:pt x="116" y="241"/>
                  </a:lnTo>
                  <a:lnTo>
                    <a:pt x="54" y="241"/>
                  </a:lnTo>
                  <a:lnTo>
                    <a:pt x="54" y="53"/>
                  </a:lnTo>
                  <a:lnTo>
                    <a:pt x="0" y="53"/>
                  </a:lnTo>
                  <a:lnTo>
                    <a:pt x="0" y="0"/>
                  </a:lnTo>
                  <a:lnTo>
                    <a:pt x="17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22" name="Freeform 11"/>
            <p:cNvSpPr>
              <a:spLocks/>
            </p:cNvSpPr>
            <p:nvPr/>
          </p:nvSpPr>
          <p:spPr bwMode="auto">
            <a:xfrm>
              <a:off x="2091" y="2262"/>
              <a:ext cx="263" cy="241"/>
            </a:xfrm>
            <a:custGeom>
              <a:avLst/>
              <a:gdLst>
                <a:gd name="T0" fmla="*/ 182 w 263"/>
                <a:gd name="T1" fmla="*/ 0 h 241"/>
                <a:gd name="T2" fmla="*/ 263 w 263"/>
                <a:gd name="T3" fmla="*/ 0 h 241"/>
                <a:gd name="T4" fmla="*/ 263 w 263"/>
                <a:gd name="T5" fmla="*/ 241 h 241"/>
                <a:gd name="T6" fmla="*/ 204 w 263"/>
                <a:gd name="T7" fmla="*/ 241 h 241"/>
                <a:gd name="T8" fmla="*/ 204 w 263"/>
                <a:gd name="T9" fmla="*/ 138 h 241"/>
                <a:gd name="T10" fmla="*/ 213 w 263"/>
                <a:gd name="T11" fmla="*/ 74 h 241"/>
                <a:gd name="T12" fmla="*/ 211 w 263"/>
                <a:gd name="T13" fmla="*/ 74 h 241"/>
                <a:gd name="T14" fmla="*/ 187 w 263"/>
                <a:gd name="T15" fmla="*/ 138 h 241"/>
                <a:gd name="T16" fmla="*/ 156 w 263"/>
                <a:gd name="T17" fmla="*/ 205 h 241"/>
                <a:gd name="T18" fmla="*/ 107 w 263"/>
                <a:gd name="T19" fmla="*/ 205 h 241"/>
                <a:gd name="T20" fmla="*/ 78 w 263"/>
                <a:gd name="T21" fmla="*/ 138 h 241"/>
                <a:gd name="T22" fmla="*/ 52 w 263"/>
                <a:gd name="T23" fmla="*/ 74 h 241"/>
                <a:gd name="T24" fmla="*/ 50 w 263"/>
                <a:gd name="T25" fmla="*/ 74 h 241"/>
                <a:gd name="T26" fmla="*/ 59 w 263"/>
                <a:gd name="T27" fmla="*/ 138 h 241"/>
                <a:gd name="T28" fmla="*/ 59 w 263"/>
                <a:gd name="T29" fmla="*/ 241 h 241"/>
                <a:gd name="T30" fmla="*/ 0 w 263"/>
                <a:gd name="T31" fmla="*/ 241 h 241"/>
                <a:gd name="T32" fmla="*/ 0 w 263"/>
                <a:gd name="T33" fmla="*/ 0 h 241"/>
                <a:gd name="T34" fmla="*/ 83 w 263"/>
                <a:gd name="T35" fmla="*/ 0 h 241"/>
                <a:gd name="T36" fmla="*/ 133 w 263"/>
                <a:gd name="T37" fmla="*/ 133 h 241"/>
                <a:gd name="T38" fmla="*/ 182 w 263"/>
                <a:gd name="T39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3" h="241">
                  <a:moveTo>
                    <a:pt x="182" y="0"/>
                  </a:moveTo>
                  <a:lnTo>
                    <a:pt x="263" y="0"/>
                  </a:lnTo>
                  <a:lnTo>
                    <a:pt x="263" y="241"/>
                  </a:lnTo>
                  <a:lnTo>
                    <a:pt x="204" y="241"/>
                  </a:lnTo>
                  <a:lnTo>
                    <a:pt x="204" y="138"/>
                  </a:lnTo>
                  <a:lnTo>
                    <a:pt x="213" y="74"/>
                  </a:lnTo>
                  <a:lnTo>
                    <a:pt x="211" y="74"/>
                  </a:lnTo>
                  <a:lnTo>
                    <a:pt x="187" y="138"/>
                  </a:lnTo>
                  <a:lnTo>
                    <a:pt x="156" y="205"/>
                  </a:lnTo>
                  <a:lnTo>
                    <a:pt x="107" y="205"/>
                  </a:lnTo>
                  <a:lnTo>
                    <a:pt x="78" y="138"/>
                  </a:lnTo>
                  <a:lnTo>
                    <a:pt x="52" y="74"/>
                  </a:lnTo>
                  <a:lnTo>
                    <a:pt x="50" y="74"/>
                  </a:lnTo>
                  <a:lnTo>
                    <a:pt x="59" y="138"/>
                  </a:lnTo>
                  <a:lnTo>
                    <a:pt x="59" y="241"/>
                  </a:lnTo>
                  <a:lnTo>
                    <a:pt x="0" y="2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133" y="133"/>
                  </a:lnTo>
                  <a:lnTo>
                    <a:pt x="18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23" name="Rectangle 12"/>
            <p:cNvSpPr>
              <a:spLocks noChangeArrowheads="1"/>
            </p:cNvSpPr>
            <p:nvPr/>
          </p:nvSpPr>
          <p:spPr bwMode="auto">
            <a:xfrm>
              <a:off x="2387" y="2262"/>
              <a:ext cx="59" cy="24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24" name="Freeform 13"/>
            <p:cNvSpPr>
              <a:spLocks/>
            </p:cNvSpPr>
            <p:nvPr/>
          </p:nvSpPr>
          <p:spPr bwMode="auto">
            <a:xfrm>
              <a:off x="2479" y="2262"/>
              <a:ext cx="220" cy="241"/>
            </a:xfrm>
            <a:custGeom>
              <a:avLst/>
              <a:gdLst>
                <a:gd name="T0" fmla="*/ 52 w 220"/>
                <a:gd name="T1" fmla="*/ 60 h 241"/>
                <a:gd name="T2" fmla="*/ 62 w 220"/>
                <a:gd name="T3" fmla="*/ 112 h 241"/>
                <a:gd name="T4" fmla="*/ 62 w 220"/>
                <a:gd name="T5" fmla="*/ 241 h 241"/>
                <a:gd name="T6" fmla="*/ 0 w 220"/>
                <a:gd name="T7" fmla="*/ 241 h 241"/>
                <a:gd name="T8" fmla="*/ 0 w 220"/>
                <a:gd name="T9" fmla="*/ 0 h 241"/>
                <a:gd name="T10" fmla="*/ 81 w 220"/>
                <a:gd name="T11" fmla="*/ 0 h 241"/>
                <a:gd name="T12" fmla="*/ 144 w 220"/>
                <a:gd name="T13" fmla="*/ 131 h 241"/>
                <a:gd name="T14" fmla="*/ 166 w 220"/>
                <a:gd name="T15" fmla="*/ 188 h 241"/>
                <a:gd name="T16" fmla="*/ 168 w 220"/>
                <a:gd name="T17" fmla="*/ 188 h 241"/>
                <a:gd name="T18" fmla="*/ 159 w 220"/>
                <a:gd name="T19" fmla="*/ 129 h 241"/>
                <a:gd name="T20" fmla="*/ 159 w 220"/>
                <a:gd name="T21" fmla="*/ 0 h 241"/>
                <a:gd name="T22" fmla="*/ 220 w 220"/>
                <a:gd name="T23" fmla="*/ 0 h 241"/>
                <a:gd name="T24" fmla="*/ 220 w 220"/>
                <a:gd name="T25" fmla="*/ 241 h 241"/>
                <a:gd name="T26" fmla="*/ 135 w 220"/>
                <a:gd name="T27" fmla="*/ 241 h 241"/>
                <a:gd name="T28" fmla="*/ 73 w 220"/>
                <a:gd name="T29" fmla="*/ 110 h 241"/>
                <a:gd name="T30" fmla="*/ 55 w 220"/>
                <a:gd name="T31" fmla="*/ 57 h 241"/>
                <a:gd name="T32" fmla="*/ 52 w 220"/>
                <a:gd name="T33" fmla="*/ 6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0" h="241">
                  <a:moveTo>
                    <a:pt x="52" y="60"/>
                  </a:moveTo>
                  <a:lnTo>
                    <a:pt x="62" y="112"/>
                  </a:lnTo>
                  <a:lnTo>
                    <a:pt x="62" y="241"/>
                  </a:lnTo>
                  <a:lnTo>
                    <a:pt x="0" y="241"/>
                  </a:lnTo>
                  <a:lnTo>
                    <a:pt x="0" y="0"/>
                  </a:lnTo>
                  <a:lnTo>
                    <a:pt x="81" y="0"/>
                  </a:lnTo>
                  <a:lnTo>
                    <a:pt x="144" y="131"/>
                  </a:lnTo>
                  <a:lnTo>
                    <a:pt x="166" y="188"/>
                  </a:lnTo>
                  <a:lnTo>
                    <a:pt x="168" y="188"/>
                  </a:lnTo>
                  <a:lnTo>
                    <a:pt x="159" y="129"/>
                  </a:lnTo>
                  <a:lnTo>
                    <a:pt x="159" y="0"/>
                  </a:lnTo>
                  <a:lnTo>
                    <a:pt x="220" y="0"/>
                  </a:lnTo>
                  <a:lnTo>
                    <a:pt x="220" y="241"/>
                  </a:lnTo>
                  <a:lnTo>
                    <a:pt x="135" y="241"/>
                  </a:lnTo>
                  <a:lnTo>
                    <a:pt x="73" y="110"/>
                  </a:lnTo>
                  <a:lnTo>
                    <a:pt x="55" y="57"/>
                  </a:lnTo>
                  <a:lnTo>
                    <a:pt x="52" y="6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25" name="Freeform 14"/>
            <p:cNvSpPr>
              <a:spLocks noEditPoints="1"/>
            </p:cNvSpPr>
            <p:nvPr/>
          </p:nvSpPr>
          <p:spPr bwMode="auto">
            <a:xfrm>
              <a:off x="2737" y="2262"/>
              <a:ext cx="201" cy="241"/>
            </a:xfrm>
            <a:custGeom>
              <a:avLst/>
              <a:gdLst>
                <a:gd name="T0" fmla="*/ 85 w 85"/>
                <a:gd name="T1" fmla="*/ 50 h 101"/>
                <a:gd name="T2" fmla="*/ 34 w 85"/>
                <a:gd name="T3" fmla="*/ 101 h 101"/>
                <a:gd name="T4" fmla="*/ 0 w 85"/>
                <a:gd name="T5" fmla="*/ 101 h 101"/>
                <a:gd name="T6" fmla="*/ 0 w 85"/>
                <a:gd name="T7" fmla="*/ 0 h 101"/>
                <a:gd name="T8" fmla="*/ 34 w 85"/>
                <a:gd name="T9" fmla="*/ 0 h 101"/>
                <a:gd name="T10" fmla="*/ 85 w 85"/>
                <a:gd name="T11" fmla="*/ 50 h 101"/>
                <a:gd name="T12" fmla="*/ 60 w 85"/>
                <a:gd name="T13" fmla="*/ 51 h 101"/>
                <a:gd name="T14" fmla="*/ 34 w 85"/>
                <a:gd name="T15" fmla="*/ 22 h 101"/>
                <a:gd name="T16" fmla="*/ 25 w 85"/>
                <a:gd name="T17" fmla="*/ 22 h 101"/>
                <a:gd name="T18" fmla="*/ 25 w 85"/>
                <a:gd name="T19" fmla="*/ 79 h 101"/>
                <a:gd name="T20" fmla="*/ 34 w 85"/>
                <a:gd name="T21" fmla="*/ 79 h 101"/>
                <a:gd name="T22" fmla="*/ 60 w 85"/>
                <a:gd name="T23" fmla="*/ 5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01">
                  <a:moveTo>
                    <a:pt x="85" y="50"/>
                  </a:moveTo>
                  <a:cubicBezTo>
                    <a:pt x="85" y="75"/>
                    <a:pt x="68" y="101"/>
                    <a:pt x="34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68" y="0"/>
                    <a:pt x="85" y="25"/>
                    <a:pt x="85" y="50"/>
                  </a:cubicBezTo>
                  <a:close/>
                  <a:moveTo>
                    <a:pt x="60" y="51"/>
                  </a:moveTo>
                  <a:cubicBezTo>
                    <a:pt x="60" y="37"/>
                    <a:pt x="51" y="22"/>
                    <a:pt x="34" y="22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51" y="79"/>
                    <a:pt x="60" y="64"/>
                    <a:pt x="60" y="5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26" name="Freeform 15"/>
            <p:cNvSpPr>
              <a:spLocks/>
            </p:cNvSpPr>
            <p:nvPr/>
          </p:nvSpPr>
          <p:spPr bwMode="auto">
            <a:xfrm>
              <a:off x="2959" y="2260"/>
              <a:ext cx="170" cy="245"/>
            </a:xfrm>
            <a:custGeom>
              <a:avLst/>
              <a:gdLst>
                <a:gd name="T0" fmla="*/ 17 w 72"/>
                <a:gd name="T1" fmla="*/ 70 h 103"/>
                <a:gd name="T2" fmla="*/ 36 w 72"/>
                <a:gd name="T3" fmla="*/ 81 h 103"/>
                <a:gd name="T4" fmla="*/ 46 w 72"/>
                <a:gd name="T5" fmla="*/ 72 h 103"/>
                <a:gd name="T6" fmla="*/ 33 w 72"/>
                <a:gd name="T7" fmla="*/ 60 h 103"/>
                <a:gd name="T8" fmla="*/ 33 w 72"/>
                <a:gd name="T9" fmla="*/ 60 h 103"/>
                <a:gd name="T10" fmla="*/ 3 w 72"/>
                <a:gd name="T11" fmla="*/ 29 h 103"/>
                <a:gd name="T12" fmla="*/ 37 w 72"/>
                <a:gd name="T13" fmla="*/ 0 h 103"/>
                <a:gd name="T14" fmla="*/ 69 w 72"/>
                <a:gd name="T15" fmla="*/ 19 h 103"/>
                <a:gd name="T16" fmla="*/ 52 w 72"/>
                <a:gd name="T17" fmla="*/ 29 h 103"/>
                <a:gd name="T18" fmla="*/ 38 w 72"/>
                <a:gd name="T19" fmla="*/ 22 h 103"/>
                <a:gd name="T20" fmla="*/ 28 w 72"/>
                <a:gd name="T21" fmla="*/ 29 h 103"/>
                <a:gd name="T22" fmla="*/ 40 w 72"/>
                <a:gd name="T23" fmla="*/ 38 h 103"/>
                <a:gd name="T24" fmla="*/ 71 w 72"/>
                <a:gd name="T25" fmla="*/ 74 h 103"/>
                <a:gd name="T26" fmla="*/ 36 w 72"/>
                <a:gd name="T27" fmla="*/ 103 h 103"/>
                <a:gd name="T28" fmla="*/ 0 w 72"/>
                <a:gd name="T29" fmla="*/ 82 h 103"/>
                <a:gd name="T30" fmla="*/ 17 w 72"/>
                <a:gd name="T31" fmla="*/ 7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2" h="103">
                  <a:moveTo>
                    <a:pt x="17" y="70"/>
                  </a:moveTo>
                  <a:cubicBezTo>
                    <a:pt x="24" y="80"/>
                    <a:pt x="32" y="81"/>
                    <a:pt x="36" y="81"/>
                  </a:cubicBezTo>
                  <a:cubicBezTo>
                    <a:pt x="42" y="81"/>
                    <a:pt x="46" y="77"/>
                    <a:pt x="46" y="72"/>
                  </a:cubicBezTo>
                  <a:cubicBezTo>
                    <a:pt x="46" y="65"/>
                    <a:pt x="39" y="62"/>
                    <a:pt x="33" y="60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23" y="58"/>
                    <a:pt x="3" y="51"/>
                    <a:pt x="3" y="29"/>
                  </a:cubicBezTo>
                  <a:cubicBezTo>
                    <a:pt x="3" y="8"/>
                    <a:pt x="21" y="0"/>
                    <a:pt x="37" y="0"/>
                  </a:cubicBezTo>
                  <a:cubicBezTo>
                    <a:pt x="49" y="0"/>
                    <a:pt x="61" y="5"/>
                    <a:pt x="69" y="1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48" y="24"/>
                    <a:pt x="44" y="22"/>
                    <a:pt x="38" y="22"/>
                  </a:cubicBezTo>
                  <a:cubicBezTo>
                    <a:pt x="33" y="22"/>
                    <a:pt x="28" y="24"/>
                    <a:pt x="28" y="29"/>
                  </a:cubicBezTo>
                  <a:cubicBezTo>
                    <a:pt x="28" y="35"/>
                    <a:pt x="35" y="37"/>
                    <a:pt x="40" y="38"/>
                  </a:cubicBezTo>
                  <a:cubicBezTo>
                    <a:pt x="55" y="43"/>
                    <a:pt x="72" y="50"/>
                    <a:pt x="71" y="74"/>
                  </a:cubicBezTo>
                  <a:cubicBezTo>
                    <a:pt x="70" y="94"/>
                    <a:pt x="52" y="103"/>
                    <a:pt x="36" y="103"/>
                  </a:cubicBezTo>
                  <a:cubicBezTo>
                    <a:pt x="24" y="103"/>
                    <a:pt x="9" y="99"/>
                    <a:pt x="0" y="82"/>
                  </a:cubicBezTo>
                  <a:lnTo>
                    <a:pt x="17" y="7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27" name="Freeform 16"/>
            <p:cNvSpPr>
              <a:spLocks/>
            </p:cNvSpPr>
            <p:nvPr/>
          </p:nvSpPr>
          <p:spPr bwMode="auto">
            <a:xfrm>
              <a:off x="235" y="2560"/>
              <a:ext cx="170" cy="245"/>
            </a:xfrm>
            <a:custGeom>
              <a:avLst/>
              <a:gdLst>
                <a:gd name="T0" fmla="*/ 16 w 72"/>
                <a:gd name="T1" fmla="*/ 70 h 103"/>
                <a:gd name="T2" fmla="*/ 36 w 72"/>
                <a:gd name="T3" fmla="*/ 81 h 103"/>
                <a:gd name="T4" fmla="*/ 46 w 72"/>
                <a:gd name="T5" fmla="*/ 72 h 103"/>
                <a:gd name="T6" fmla="*/ 33 w 72"/>
                <a:gd name="T7" fmla="*/ 61 h 103"/>
                <a:gd name="T8" fmla="*/ 33 w 72"/>
                <a:gd name="T9" fmla="*/ 61 h 103"/>
                <a:gd name="T10" fmla="*/ 2 w 72"/>
                <a:gd name="T11" fmla="*/ 30 h 103"/>
                <a:gd name="T12" fmla="*/ 36 w 72"/>
                <a:gd name="T13" fmla="*/ 0 h 103"/>
                <a:gd name="T14" fmla="*/ 68 w 72"/>
                <a:gd name="T15" fmla="*/ 19 h 103"/>
                <a:gd name="T16" fmla="*/ 52 w 72"/>
                <a:gd name="T17" fmla="*/ 29 h 103"/>
                <a:gd name="T18" fmla="*/ 37 w 72"/>
                <a:gd name="T19" fmla="*/ 22 h 103"/>
                <a:gd name="T20" fmla="*/ 28 w 72"/>
                <a:gd name="T21" fmla="*/ 30 h 103"/>
                <a:gd name="T22" fmla="*/ 39 w 72"/>
                <a:gd name="T23" fmla="*/ 39 h 103"/>
                <a:gd name="T24" fmla="*/ 71 w 72"/>
                <a:gd name="T25" fmla="*/ 74 h 103"/>
                <a:gd name="T26" fmla="*/ 35 w 72"/>
                <a:gd name="T27" fmla="*/ 103 h 103"/>
                <a:gd name="T28" fmla="*/ 0 w 72"/>
                <a:gd name="T29" fmla="*/ 82 h 103"/>
                <a:gd name="T30" fmla="*/ 16 w 72"/>
                <a:gd name="T31" fmla="*/ 7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2" h="103">
                  <a:moveTo>
                    <a:pt x="16" y="70"/>
                  </a:moveTo>
                  <a:cubicBezTo>
                    <a:pt x="24" y="80"/>
                    <a:pt x="31" y="81"/>
                    <a:pt x="36" y="81"/>
                  </a:cubicBezTo>
                  <a:cubicBezTo>
                    <a:pt x="41" y="81"/>
                    <a:pt x="45" y="77"/>
                    <a:pt x="46" y="72"/>
                  </a:cubicBezTo>
                  <a:cubicBezTo>
                    <a:pt x="46" y="65"/>
                    <a:pt x="39" y="62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22" y="58"/>
                    <a:pt x="2" y="51"/>
                    <a:pt x="2" y="30"/>
                  </a:cubicBezTo>
                  <a:cubicBezTo>
                    <a:pt x="3" y="8"/>
                    <a:pt x="20" y="0"/>
                    <a:pt x="36" y="0"/>
                  </a:cubicBezTo>
                  <a:cubicBezTo>
                    <a:pt x="49" y="0"/>
                    <a:pt x="61" y="6"/>
                    <a:pt x="68" y="1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48" y="24"/>
                    <a:pt x="43" y="22"/>
                    <a:pt x="37" y="22"/>
                  </a:cubicBezTo>
                  <a:cubicBezTo>
                    <a:pt x="32" y="22"/>
                    <a:pt x="28" y="24"/>
                    <a:pt x="28" y="30"/>
                  </a:cubicBezTo>
                  <a:cubicBezTo>
                    <a:pt x="27" y="35"/>
                    <a:pt x="34" y="37"/>
                    <a:pt x="39" y="39"/>
                  </a:cubicBezTo>
                  <a:cubicBezTo>
                    <a:pt x="55" y="43"/>
                    <a:pt x="72" y="50"/>
                    <a:pt x="71" y="74"/>
                  </a:cubicBezTo>
                  <a:cubicBezTo>
                    <a:pt x="70" y="94"/>
                    <a:pt x="52" y="103"/>
                    <a:pt x="35" y="103"/>
                  </a:cubicBezTo>
                  <a:cubicBezTo>
                    <a:pt x="24" y="103"/>
                    <a:pt x="9" y="99"/>
                    <a:pt x="0" y="82"/>
                  </a:cubicBezTo>
                  <a:lnTo>
                    <a:pt x="16" y="7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28" name="Freeform 17"/>
            <p:cNvSpPr>
              <a:spLocks/>
            </p:cNvSpPr>
            <p:nvPr/>
          </p:nvSpPr>
          <p:spPr bwMode="auto">
            <a:xfrm>
              <a:off x="429" y="2562"/>
              <a:ext cx="186" cy="240"/>
            </a:xfrm>
            <a:custGeom>
              <a:avLst/>
              <a:gdLst>
                <a:gd name="T0" fmla="*/ 125 w 186"/>
                <a:gd name="T1" fmla="*/ 148 h 240"/>
                <a:gd name="T2" fmla="*/ 59 w 186"/>
                <a:gd name="T3" fmla="*/ 148 h 240"/>
                <a:gd name="T4" fmla="*/ 59 w 186"/>
                <a:gd name="T5" fmla="*/ 240 h 240"/>
                <a:gd name="T6" fmla="*/ 0 w 186"/>
                <a:gd name="T7" fmla="*/ 240 h 240"/>
                <a:gd name="T8" fmla="*/ 0 w 186"/>
                <a:gd name="T9" fmla="*/ 0 h 240"/>
                <a:gd name="T10" fmla="*/ 59 w 186"/>
                <a:gd name="T11" fmla="*/ 0 h 240"/>
                <a:gd name="T12" fmla="*/ 59 w 186"/>
                <a:gd name="T13" fmla="*/ 93 h 240"/>
                <a:gd name="T14" fmla="*/ 125 w 186"/>
                <a:gd name="T15" fmla="*/ 93 h 240"/>
                <a:gd name="T16" fmla="*/ 125 w 186"/>
                <a:gd name="T17" fmla="*/ 0 h 240"/>
                <a:gd name="T18" fmla="*/ 186 w 186"/>
                <a:gd name="T19" fmla="*/ 0 h 240"/>
                <a:gd name="T20" fmla="*/ 186 w 186"/>
                <a:gd name="T21" fmla="*/ 240 h 240"/>
                <a:gd name="T22" fmla="*/ 125 w 186"/>
                <a:gd name="T23" fmla="*/ 240 h 240"/>
                <a:gd name="T24" fmla="*/ 125 w 186"/>
                <a:gd name="T25" fmla="*/ 14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" h="240">
                  <a:moveTo>
                    <a:pt x="125" y="148"/>
                  </a:moveTo>
                  <a:lnTo>
                    <a:pt x="59" y="148"/>
                  </a:lnTo>
                  <a:lnTo>
                    <a:pt x="59" y="240"/>
                  </a:lnTo>
                  <a:lnTo>
                    <a:pt x="0" y="240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93"/>
                  </a:lnTo>
                  <a:lnTo>
                    <a:pt x="125" y="93"/>
                  </a:lnTo>
                  <a:lnTo>
                    <a:pt x="125" y="0"/>
                  </a:lnTo>
                  <a:lnTo>
                    <a:pt x="186" y="0"/>
                  </a:lnTo>
                  <a:lnTo>
                    <a:pt x="186" y="240"/>
                  </a:lnTo>
                  <a:lnTo>
                    <a:pt x="125" y="240"/>
                  </a:lnTo>
                  <a:lnTo>
                    <a:pt x="125" y="14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29" name="Freeform 18"/>
            <p:cNvSpPr>
              <a:spLocks noEditPoints="1"/>
            </p:cNvSpPr>
            <p:nvPr/>
          </p:nvSpPr>
          <p:spPr bwMode="auto">
            <a:xfrm>
              <a:off x="630" y="2562"/>
              <a:ext cx="241" cy="240"/>
            </a:xfrm>
            <a:custGeom>
              <a:avLst/>
              <a:gdLst>
                <a:gd name="T0" fmla="*/ 158 w 241"/>
                <a:gd name="T1" fmla="*/ 181 h 240"/>
                <a:gd name="T2" fmla="*/ 82 w 241"/>
                <a:gd name="T3" fmla="*/ 181 h 240"/>
                <a:gd name="T4" fmla="*/ 64 w 241"/>
                <a:gd name="T5" fmla="*/ 240 h 240"/>
                <a:gd name="T6" fmla="*/ 0 w 241"/>
                <a:gd name="T7" fmla="*/ 240 h 240"/>
                <a:gd name="T8" fmla="*/ 80 w 241"/>
                <a:gd name="T9" fmla="*/ 0 h 240"/>
                <a:gd name="T10" fmla="*/ 158 w 241"/>
                <a:gd name="T11" fmla="*/ 0 h 240"/>
                <a:gd name="T12" fmla="*/ 241 w 241"/>
                <a:gd name="T13" fmla="*/ 240 h 240"/>
                <a:gd name="T14" fmla="*/ 177 w 241"/>
                <a:gd name="T15" fmla="*/ 240 h 240"/>
                <a:gd name="T16" fmla="*/ 158 w 241"/>
                <a:gd name="T17" fmla="*/ 181 h 240"/>
                <a:gd name="T18" fmla="*/ 118 w 241"/>
                <a:gd name="T19" fmla="*/ 45 h 240"/>
                <a:gd name="T20" fmla="*/ 113 w 241"/>
                <a:gd name="T21" fmla="*/ 79 h 240"/>
                <a:gd name="T22" fmla="*/ 97 w 241"/>
                <a:gd name="T23" fmla="*/ 126 h 240"/>
                <a:gd name="T24" fmla="*/ 142 w 241"/>
                <a:gd name="T25" fmla="*/ 126 h 240"/>
                <a:gd name="T26" fmla="*/ 127 w 241"/>
                <a:gd name="T27" fmla="*/ 79 h 240"/>
                <a:gd name="T28" fmla="*/ 120 w 241"/>
                <a:gd name="T29" fmla="*/ 45 h 240"/>
                <a:gd name="T30" fmla="*/ 118 w 241"/>
                <a:gd name="T31" fmla="*/ 45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1" h="240">
                  <a:moveTo>
                    <a:pt x="158" y="181"/>
                  </a:moveTo>
                  <a:lnTo>
                    <a:pt x="82" y="181"/>
                  </a:lnTo>
                  <a:lnTo>
                    <a:pt x="64" y="240"/>
                  </a:lnTo>
                  <a:lnTo>
                    <a:pt x="0" y="240"/>
                  </a:lnTo>
                  <a:lnTo>
                    <a:pt x="80" y="0"/>
                  </a:lnTo>
                  <a:lnTo>
                    <a:pt x="158" y="0"/>
                  </a:lnTo>
                  <a:lnTo>
                    <a:pt x="241" y="240"/>
                  </a:lnTo>
                  <a:lnTo>
                    <a:pt x="177" y="240"/>
                  </a:lnTo>
                  <a:lnTo>
                    <a:pt x="158" y="181"/>
                  </a:lnTo>
                  <a:close/>
                  <a:moveTo>
                    <a:pt x="118" y="45"/>
                  </a:moveTo>
                  <a:lnTo>
                    <a:pt x="113" y="79"/>
                  </a:lnTo>
                  <a:lnTo>
                    <a:pt x="97" y="126"/>
                  </a:lnTo>
                  <a:lnTo>
                    <a:pt x="142" y="126"/>
                  </a:lnTo>
                  <a:lnTo>
                    <a:pt x="127" y="79"/>
                  </a:lnTo>
                  <a:lnTo>
                    <a:pt x="120" y="45"/>
                  </a:lnTo>
                  <a:lnTo>
                    <a:pt x="118" y="4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30" name="Freeform 19"/>
            <p:cNvSpPr>
              <a:spLocks noEditPoints="1"/>
            </p:cNvSpPr>
            <p:nvPr/>
          </p:nvSpPr>
          <p:spPr bwMode="auto">
            <a:xfrm>
              <a:off x="883" y="2562"/>
              <a:ext cx="184" cy="240"/>
            </a:xfrm>
            <a:custGeom>
              <a:avLst/>
              <a:gdLst>
                <a:gd name="T0" fmla="*/ 78 w 78"/>
                <a:gd name="T1" fmla="*/ 101 h 101"/>
                <a:gd name="T2" fmla="*/ 49 w 78"/>
                <a:gd name="T3" fmla="*/ 101 h 101"/>
                <a:gd name="T4" fmla="*/ 29 w 78"/>
                <a:gd name="T5" fmla="*/ 66 h 101"/>
                <a:gd name="T6" fmla="*/ 25 w 78"/>
                <a:gd name="T7" fmla="*/ 66 h 101"/>
                <a:gd name="T8" fmla="*/ 25 w 78"/>
                <a:gd name="T9" fmla="*/ 101 h 101"/>
                <a:gd name="T10" fmla="*/ 0 w 78"/>
                <a:gd name="T11" fmla="*/ 101 h 101"/>
                <a:gd name="T12" fmla="*/ 0 w 78"/>
                <a:gd name="T13" fmla="*/ 0 h 101"/>
                <a:gd name="T14" fmla="*/ 35 w 78"/>
                <a:gd name="T15" fmla="*/ 0 h 101"/>
                <a:gd name="T16" fmla="*/ 68 w 78"/>
                <a:gd name="T17" fmla="*/ 15 h 101"/>
                <a:gd name="T18" fmla="*/ 72 w 78"/>
                <a:gd name="T19" fmla="*/ 34 h 101"/>
                <a:gd name="T20" fmla="*/ 53 w 78"/>
                <a:gd name="T21" fmla="*/ 61 h 101"/>
                <a:gd name="T22" fmla="*/ 78 w 78"/>
                <a:gd name="T23" fmla="*/ 101 h 101"/>
                <a:gd name="T24" fmla="*/ 35 w 78"/>
                <a:gd name="T25" fmla="*/ 44 h 101"/>
                <a:gd name="T26" fmla="*/ 47 w 78"/>
                <a:gd name="T27" fmla="*/ 33 h 101"/>
                <a:gd name="T28" fmla="*/ 35 w 78"/>
                <a:gd name="T29" fmla="*/ 22 h 101"/>
                <a:gd name="T30" fmla="*/ 25 w 78"/>
                <a:gd name="T31" fmla="*/ 22 h 101"/>
                <a:gd name="T32" fmla="*/ 25 w 78"/>
                <a:gd name="T33" fmla="*/ 44 h 101"/>
                <a:gd name="T34" fmla="*/ 35 w 78"/>
                <a:gd name="T35" fmla="*/ 44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1">
                  <a:moveTo>
                    <a:pt x="78" y="101"/>
                  </a:moveTo>
                  <a:cubicBezTo>
                    <a:pt x="49" y="101"/>
                    <a:pt x="49" y="101"/>
                    <a:pt x="49" y="101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5" y="101"/>
                    <a:pt x="25" y="101"/>
                    <a:pt x="25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50" y="0"/>
                    <a:pt x="61" y="5"/>
                    <a:pt x="68" y="15"/>
                  </a:cubicBezTo>
                  <a:cubicBezTo>
                    <a:pt x="71" y="21"/>
                    <a:pt x="72" y="27"/>
                    <a:pt x="72" y="34"/>
                  </a:cubicBezTo>
                  <a:cubicBezTo>
                    <a:pt x="72" y="45"/>
                    <a:pt x="66" y="57"/>
                    <a:pt x="53" y="61"/>
                  </a:cubicBezTo>
                  <a:lnTo>
                    <a:pt x="78" y="101"/>
                  </a:lnTo>
                  <a:close/>
                  <a:moveTo>
                    <a:pt x="35" y="44"/>
                  </a:moveTo>
                  <a:cubicBezTo>
                    <a:pt x="43" y="44"/>
                    <a:pt x="47" y="39"/>
                    <a:pt x="47" y="33"/>
                  </a:cubicBezTo>
                  <a:cubicBezTo>
                    <a:pt x="47" y="28"/>
                    <a:pt x="43" y="22"/>
                    <a:pt x="35" y="22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5" y="44"/>
                    <a:pt x="25" y="44"/>
                    <a:pt x="25" y="44"/>
                  </a:cubicBezTo>
                  <a:lnTo>
                    <a:pt x="35" y="4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31" name="Freeform 20"/>
            <p:cNvSpPr>
              <a:spLocks noEditPoints="1"/>
            </p:cNvSpPr>
            <p:nvPr/>
          </p:nvSpPr>
          <p:spPr bwMode="auto">
            <a:xfrm>
              <a:off x="1086" y="2562"/>
              <a:ext cx="170" cy="240"/>
            </a:xfrm>
            <a:custGeom>
              <a:avLst/>
              <a:gdLst>
                <a:gd name="T0" fmla="*/ 25 w 72"/>
                <a:gd name="T1" fmla="*/ 101 h 101"/>
                <a:gd name="T2" fmla="*/ 0 w 72"/>
                <a:gd name="T3" fmla="*/ 101 h 101"/>
                <a:gd name="T4" fmla="*/ 0 w 72"/>
                <a:gd name="T5" fmla="*/ 0 h 101"/>
                <a:gd name="T6" fmla="*/ 34 w 72"/>
                <a:gd name="T7" fmla="*/ 0 h 101"/>
                <a:gd name="T8" fmla="*/ 72 w 72"/>
                <a:gd name="T9" fmla="*/ 37 h 101"/>
                <a:gd name="T10" fmla="*/ 34 w 72"/>
                <a:gd name="T11" fmla="*/ 72 h 101"/>
                <a:gd name="T12" fmla="*/ 25 w 72"/>
                <a:gd name="T13" fmla="*/ 72 h 101"/>
                <a:gd name="T14" fmla="*/ 25 w 72"/>
                <a:gd name="T15" fmla="*/ 101 h 101"/>
                <a:gd name="T16" fmla="*/ 47 w 72"/>
                <a:gd name="T17" fmla="*/ 37 h 101"/>
                <a:gd name="T18" fmla="*/ 34 w 72"/>
                <a:gd name="T19" fmla="*/ 22 h 101"/>
                <a:gd name="T20" fmla="*/ 25 w 72"/>
                <a:gd name="T21" fmla="*/ 22 h 101"/>
                <a:gd name="T22" fmla="*/ 25 w 72"/>
                <a:gd name="T23" fmla="*/ 52 h 101"/>
                <a:gd name="T24" fmla="*/ 34 w 72"/>
                <a:gd name="T25" fmla="*/ 52 h 101"/>
                <a:gd name="T26" fmla="*/ 47 w 72"/>
                <a:gd name="T27" fmla="*/ 37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101">
                  <a:moveTo>
                    <a:pt x="25" y="101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60" y="0"/>
                    <a:pt x="72" y="19"/>
                    <a:pt x="72" y="37"/>
                  </a:cubicBezTo>
                  <a:cubicBezTo>
                    <a:pt x="72" y="55"/>
                    <a:pt x="59" y="72"/>
                    <a:pt x="34" y="72"/>
                  </a:cubicBezTo>
                  <a:cubicBezTo>
                    <a:pt x="25" y="72"/>
                    <a:pt x="25" y="72"/>
                    <a:pt x="25" y="72"/>
                  </a:cubicBezTo>
                  <a:lnTo>
                    <a:pt x="25" y="101"/>
                  </a:lnTo>
                  <a:close/>
                  <a:moveTo>
                    <a:pt x="47" y="37"/>
                  </a:moveTo>
                  <a:cubicBezTo>
                    <a:pt x="47" y="29"/>
                    <a:pt x="43" y="22"/>
                    <a:pt x="34" y="22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43" y="52"/>
                    <a:pt x="47" y="44"/>
                    <a:pt x="47" y="3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32" name="Freeform 21"/>
            <p:cNvSpPr>
              <a:spLocks/>
            </p:cNvSpPr>
            <p:nvPr/>
          </p:nvSpPr>
          <p:spPr bwMode="auto">
            <a:xfrm>
              <a:off x="1346" y="2560"/>
              <a:ext cx="171" cy="245"/>
            </a:xfrm>
            <a:custGeom>
              <a:avLst/>
              <a:gdLst>
                <a:gd name="T0" fmla="*/ 17 w 72"/>
                <a:gd name="T1" fmla="*/ 70 h 103"/>
                <a:gd name="T2" fmla="*/ 36 w 72"/>
                <a:gd name="T3" fmla="*/ 81 h 103"/>
                <a:gd name="T4" fmla="*/ 46 w 72"/>
                <a:gd name="T5" fmla="*/ 72 h 103"/>
                <a:gd name="T6" fmla="*/ 33 w 72"/>
                <a:gd name="T7" fmla="*/ 61 h 103"/>
                <a:gd name="T8" fmla="*/ 33 w 72"/>
                <a:gd name="T9" fmla="*/ 61 h 103"/>
                <a:gd name="T10" fmla="*/ 3 w 72"/>
                <a:gd name="T11" fmla="*/ 30 h 103"/>
                <a:gd name="T12" fmla="*/ 37 w 72"/>
                <a:gd name="T13" fmla="*/ 0 h 103"/>
                <a:gd name="T14" fmla="*/ 69 w 72"/>
                <a:gd name="T15" fmla="*/ 19 h 103"/>
                <a:gd name="T16" fmla="*/ 52 w 72"/>
                <a:gd name="T17" fmla="*/ 29 h 103"/>
                <a:gd name="T18" fmla="*/ 38 w 72"/>
                <a:gd name="T19" fmla="*/ 22 h 103"/>
                <a:gd name="T20" fmla="*/ 28 w 72"/>
                <a:gd name="T21" fmla="*/ 30 h 103"/>
                <a:gd name="T22" fmla="*/ 40 w 72"/>
                <a:gd name="T23" fmla="*/ 39 h 103"/>
                <a:gd name="T24" fmla="*/ 71 w 72"/>
                <a:gd name="T25" fmla="*/ 74 h 103"/>
                <a:gd name="T26" fmla="*/ 36 w 72"/>
                <a:gd name="T27" fmla="*/ 103 h 103"/>
                <a:gd name="T28" fmla="*/ 0 w 72"/>
                <a:gd name="T29" fmla="*/ 82 h 103"/>
                <a:gd name="T30" fmla="*/ 17 w 72"/>
                <a:gd name="T31" fmla="*/ 7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2" h="103">
                  <a:moveTo>
                    <a:pt x="17" y="70"/>
                  </a:moveTo>
                  <a:cubicBezTo>
                    <a:pt x="24" y="80"/>
                    <a:pt x="32" y="81"/>
                    <a:pt x="36" y="81"/>
                  </a:cubicBezTo>
                  <a:cubicBezTo>
                    <a:pt x="42" y="81"/>
                    <a:pt x="46" y="77"/>
                    <a:pt x="46" y="72"/>
                  </a:cubicBezTo>
                  <a:cubicBezTo>
                    <a:pt x="46" y="65"/>
                    <a:pt x="39" y="62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23" y="58"/>
                    <a:pt x="3" y="51"/>
                    <a:pt x="3" y="30"/>
                  </a:cubicBezTo>
                  <a:cubicBezTo>
                    <a:pt x="3" y="8"/>
                    <a:pt x="21" y="0"/>
                    <a:pt x="37" y="0"/>
                  </a:cubicBezTo>
                  <a:cubicBezTo>
                    <a:pt x="49" y="0"/>
                    <a:pt x="61" y="6"/>
                    <a:pt x="69" y="1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48" y="24"/>
                    <a:pt x="44" y="22"/>
                    <a:pt x="38" y="22"/>
                  </a:cubicBezTo>
                  <a:cubicBezTo>
                    <a:pt x="33" y="22"/>
                    <a:pt x="28" y="24"/>
                    <a:pt x="28" y="30"/>
                  </a:cubicBezTo>
                  <a:cubicBezTo>
                    <a:pt x="28" y="35"/>
                    <a:pt x="35" y="37"/>
                    <a:pt x="40" y="39"/>
                  </a:cubicBezTo>
                  <a:cubicBezTo>
                    <a:pt x="55" y="43"/>
                    <a:pt x="72" y="50"/>
                    <a:pt x="71" y="74"/>
                  </a:cubicBezTo>
                  <a:cubicBezTo>
                    <a:pt x="70" y="94"/>
                    <a:pt x="52" y="103"/>
                    <a:pt x="36" y="103"/>
                  </a:cubicBezTo>
                  <a:cubicBezTo>
                    <a:pt x="25" y="103"/>
                    <a:pt x="9" y="99"/>
                    <a:pt x="0" y="82"/>
                  </a:cubicBezTo>
                  <a:lnTo>
                    <a:pt x="17" y="7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33" name="Freeform 22"/>
            <p:cNvSpPr>
              <a:spLocks noEditPoints="1"/>
            </p:cNvSpPr>
            <p:nvPr/>
          </p:nvSpPr>
          <p:spPr bwMode="auto">
            <a:xfrm>
              <a:off x="1533" y="2560"/>
              <a:ext cx="246" cy="247"/>
            </a:xfrm>
            <a:custGeom>
              <a:avLst/>
              <a:gdLst>
                <a:gd name="T0" fmla="*/ 104 w 104"/>
                <a:gd name="T1" fmla="*/ 52 h 104"/>
                <a:gd name="T2" fmla="*/ 52 w 104"/>
                <a:gd name="T3" fmla="*/ 104 h 104"/>
                <a:gd name="T4" fmla="*/ 0 w 104"/>
                <a:gd name="T5" fmla="*/ 52 h 104"/>
                <a:gd name="T6" fmla="*/ 52 w 104"/>
                <a:gd name="T7" fmla="*/ 0 h 104"/>
                <a:gd name="T8" fmla="*/ 104 w 104"/>
                <a:gd name="T9" fmla="*/ 52 h 104"/>
                <a:gd name="T10" fmla="*/ 52 w 104"/>
                <a:gd name="T11" fmla="*/ 80 h 104"/>
                <a:gd name="T12" fmla="*/ 78 w 104"/>
                <a:gd name="T13" fmla="*/ 52 h 104"/>
                <a:gd name="T14" fmla="*/ 52 w 104"/>
                <a:gd name="T15" fmla="*/ 23 h 104"/>
                <a:gd name="T16" fmla="*/ 26 w 104"/>
                <a:gd name="T17" fmla="*/ 52 h 104"/>
                <a:gd name="T18" fmla="*/ 52 w 104"/>
                <a:gd name="T19" fmla="*/ 8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4">
                  <a:moveTo>
                    <a:pt x="104" y="52"/>
                  </a:moveTo>
                  <a:cubicBezTo>
                    <a:pt x="104" y="83"/>
                    <a:pt x="81" y="104"/>
                    <a:pt x="52" y="104"/>
                  </a:cubicBezTo>
                  <a:cubicBezTo>
                    <a:pt x="24" y="104"/>
                    <a:pt x="0" y="83"/>
                    <a:pt x="0" y="52"/>
                  </a:cubicBezTo>
                  <a:cubicBezTo>
                    <a:pt x="0" y="20"/>
                    <a:pt x="24" y="0"/>
                    <a:pt x="52" y="0"/>
                  </a:cubicBezTo>
                  <a:cubicBezTo>
                    <a:pt x="81" y="0"/>
                    <a:pt x="104" y="20"/>
                    <a:pt x="104" y="52"/>
                  </a:cubicBezTo>
                  <a:close/>
                  <a:moveTo>
                    <a:pt x="52" y="80"/>
                  </a:moveTo>
                  <a:cubicBezTo>
                    <a:pt x="65" y="80"/>
                    <a:pt x="78" y="73"/>
                    <a:pt x="78" y="52"/>
                  </a:cubicBezTo>
                  <a:cubicBezTo>
                    <a:pt x="78" y="31"/>
                    <a:pt x="65" y="23"/>
                    <a:pt x="52" y="23"/>
                  </a:cubicBezTo>
                  <a:cubicBezTo>
                    <a:pt x="39" y="23"/>
                    <a:pt x="26" y="32"/>
                    <a:pt x="26" y="52"/>
                  </a:cubicBezTo>
                  <a:cubicBezTo>
                    <a:pt x="26" y="71"/>
                    <a:pt x="39" y="80"/>
                    <a:pt x="52" y="8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34" name="Freeform 23"/>
            <p:cNvSpPr>
              <a:spLocks/>
            </p:cNvSpPr>
            <p:nvPr/>
          </p:nvSpPr>
          <p:spPr bwMode="auto">
            <a:xfrm>
              <a:off x="1803" y="2562"/>
              <a:ext cx="139" cy="240"/>
            </a:xfrm>
            <a:custGeom>
              <a:avLst/>
              <a:gdLst>
                <a:gd name="T0" fmla="*/ 139 w 139"/>
                <a:gd name="T1" fmla="*/ 240 h 240"/>
                <a:gd name="T2" fmla="*/ 0 w 139"/>
                <a:gd name="T3" fmla="*/ 240 h 240"/>
                <a:gd name="T4" fmla="*/ 0 w 139"/>
                <a:gd name="T5" fmla="*/ 0 h 240"/>
                <a:gd name="T6" fmla="*/ 59 w 139"/>
                <a:gd name="T7" fmla="*/ 0 h 240"/>
                <a:gd name="T8" fmla="*/ 59 w 139"/>
                <a:gd name="T9" fmla="*/ 186 h 240"/>
                <a:gd name="T10" fmla="*/ 139 w 139"/>
                <a:gd name="T11" fmla="*/ 186 h 240"/>
                <a:gd name="T12" fmla="*/ 139 w 139"/>
                <a:gd name="T13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240">
                  <a:moveTo>
                    <a:pt x="139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86"/>
                  </a:lnTo>
                  <a:lnTo>
                    <a:pt x="139" y="186"/>
                  </a:lnTo>
                  <a:lnTo>
                    <a:pt x="139" y="24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35" name="Freeform 24"/>
            <p:cNvSpPr>
              <a:spLocks/>
            </p:cNvSpPr>
            <p:nvPr/>
          </p:nvSpPr>
          <p:spPr bwMode="auto">
            <a:xfrm>
              <a:off x="1964" y="2562"/>
              <a:ext cx="182" cy="243"/>
            </a:xfrm>
            <a:custGeom>
              <a:avLst/>
              <a:gdLst>
                <a:gd name="T0" fmla="*/ 26 w 77"/>
                <a:gd name="T1" fmla="*/ 0 h 102"/>
                <a:gd name="T2" fmla="*/ 26 w 77"/>
                <a:gd name="T3" fmla="*/ 68 h 102"/>
                <a:gd name="T4" fmla="*/ 38 w 77"/>
                <a:gd name="T5" fmla="*/ 80 h 102"/>
                <a:gd name="T6" fmla="*/ 51 w 77"/>
                <a:gd name="T7" fmla="*/ 68 h 102"/>
                <a:gd name="T8" fmla="*/ 51 w 77"/>
                <a:gd name="T9" fmla="*/ 0 h 102"/>
                <a:gd name="T10" fmla="*/ 77 w 77"/>
                <a:gd name="T11" fmla="*/ 0 h 102"/>
                <a:gd name="T12" fmla="*/ 77 w 77"/>
                <a:gd name="T13" fmla="*/ 68 h 102"/>
                <a:gd name="T14" fmla="*/ 38 w 77"/>
                <a:gd name="T15" fmla="*/ 102 h 102"/>
                <a:gd name="T16" fmla="*/ 0 w 77"/>
                <a:gd name="T17" fmla="*/ 68 h 102"/>
                <a:gd name="T18" fmla="*/ 0 w 77"/>
                <a:gd name="T19" fmla="*/ 0 h 102"/>
                <a:gd name="T20" fmla="*/ 26 w 77"/>
                <a:gd name="T2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" h="102">
                  <a:moveTo>
                    <a:pt x="26" y="0"/>
                  </a:moveTo>
                  <a:cubicBezTo>
                    <a:pt x="26" y="68"/>
                    <a:pt x="26" y="68"/>
                    <a:pt x="26" y="68"/>
                  </a:cubicBezTo>
                  <a:cubicBezTo>
                    <a:pt x="26" y="76"/>
                    <a:pt x="32" y="80"/>
                    <a:pt x="38" y="80"/>
                  </a:cubicBezTo>
                  <a:cubicBezTo>
                    <a:pt x="45" y="80"/>
                    <a:pt x="51" y="76"/>
                    <a:pt x="51" y="68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7" y="91"/>
                    <a:pt x="57" y="102"/>
                    <a:pt x="38" y="102"/>
                  </a:cubicBezTo>
                  <a:cubicBezTo>
                    <a:pt x="19" y="102"/>
                    <a:pt x="0" y="91"/>
                    <a:pt x="0" y="6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36" name="Freeform 25"/>
            <p:cNvSpPr>
              <a:spLocks/>
            </p:cNvSpPr>
            <p:nvPr/>
          </p:nvSpPr>
          <p:spPr bwMode="auto">
            <a:xfrm>
              <a:off x="2160" y="2562"/>
              <a:ext cx="172" cy="240"/>
            </a:xfrm>
            <a:custGeom>
              <a:avLst/>
              <a:gdLst>
                <a:gd name="T0" fmla="*/ 172 w 172"/>
                <a:gd name="T1" fmla="*/ 0 h 240"/>
                <a:gd name="T2" fmla="*/ 172 w 172"/>
                <a:gd name="T3" fmla="*/ 52 h 240"/>
                <a:gd name="T4" fmla="*/ 116 w 172"/>
                <a:gd name="T5" fmla="*/ 52 h 240"/>
                <a:gd name="T6" fmla="*/ 116 w 172"/>
                <a:gd name="T7" fmla="*/ 240 h 240"/>
                <a:gd name="T8" fmla="*/ 57 w 172"/>
                <a:gd name="T9" fmla="*/ 240 h 240"/>
                <a:gd name="T10" fmla="*/ 57 w 172"/>
                <a:gd name="T11" fmla="*/ 52 h 240"/>
                <a:gd name="T12" fmla="*/ 0 w 172"/>
                <a:gd name="T13" fmla="*/ 52 h 240"/>
                <a:gd name="T14" fmla="*/ 0 w 172"/>
                <a:gd name="T15" fmla="*/ 0 h 240"/>
                <a:gd name="T16" fmla="*/ 172 w 172"/>
                <a:gd name="T17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2" h="240">
                  <a:moveTo>
                    <a:pt x="172" y="0"/>
                  </a:moveTo>
                  <a:lnTo>
                    <a:pt x="172" y="52"/>
                  </a:lnTo>
                  <a:lnTo>
                    <a:pt x="116" y="52"/>
                  </a:lnTo>
                  <a:lnTo>
                    <a:pt x="116" y="240"/>
                  </a:lnTo>
                  <a:lnTo>
                    <a:pt x="57" y="240"/>
                  </a:lnTo>
                  <a:lnTo>
                    <a:pt x="57" y="52"/>
                  </a:lnTo>
                  <a:lnTo>
                    <a:pt x="0" y="52"/>
                  </a:lnTo>
                  <a:lnTo>
                    <a:pt x="0" y="0"/>
                  </a:lnTo>
                  <a:lnTo>
                    <a:pt x="17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37" name="Rectangle 26"/>
            <p:cNvSpPr>
              <a:spLocks noChangeArrowheads="1"/>
            </p:cNvSpPr>
            <p:nvPr/>
          </p:nvSpPr>
          <p:spPr bwMode="auto">
            <a:xfrm>
              <a:off x="2349" y="2562"/>
              <a:ext cx="62" cy="24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38" name="Freeform 27"/>
            <p:cNvSpPr>
              <a:spLocks noEditPoints="1"/>
            </p:cNvSpPr>
            <p:nvPr/>
          </p:nvSpPr>
          <p:spPr bwMode="auto">
            <a:xfrm>
              <a:off x="2439" y="2560"/>
              <a:ext cx="248" cy="247"/>
            </a:xfrm>
            <a:custGeom>
              <a:avLst/>
              <a:gdLst>
                <a:gd name="T0" fmla="*/ 105 w 105"/>
                <a:gd name="T1" fmla="*/ 52 h 104"/>
                <a:gd name="T2" fmla="*/ 53 w 105"/>
                <a:gd name="T3" fmla="*/ 104 h 104"/>
                <a:gd name="T4" fmla="*/ 0 w 105"/>
                <a:gd name="T5" fmla="*/ 52 h 104"/>
                <a:gd name="T6" fmla="*/ 53 w 105"/>
                <a:gd name="T7" fmla="*/ 0 h 104"/>
                <a:gd name="T8" fmla="*/ 105 w 105"/>
                <a:gd name="T9" fmla="*/ 52 h 104"/>
                <a:gd name="T10" fmla="*/ 53 w 105"/>
                <a:gd name="T11" fmla="*/ 80 h 104"/>
                <a:gd name="T12" fmla="*/ 79 w 105"/>
                <a:gd name="T13" fmla="*/ 52 h 104"/>
                <a:gd name="T14" fmla="*/ 52 w 105"/>
                <a:gd name="T15" fmla="*/ 23 h 104"/>
                <a:gd name="T16" fmla="*/ 26 w 105"/>
                <a:gd name="T17" fmla="*/ 52 h 104"/>
                <a:gd name="T18" fmla="*/ 53 w 105"/>
                <a:gd name="T19" fmla="*/ 8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104">
                  <a:moveTo>
                    <a:pt x="105" y="52"/>
                  </a:moveTo>
                  <a:cubicBezTo>
                    <a:pt x="105" y="83"/>
                    <a:pt x="81" y="104"/>
                    <a:pt x="53" y="104"/>
                  </a:cubicBezTo>
                  <a:cubicBezTo>
                    <a:pt x="24" y="104"/>
                    <a:pt x="0" y="83"/>
                    <a:pt x="0" y="52"/>
                  </a:cubicBezTo>
                  <a:cubicBezTo>
                    <a:pt x="0" y="20"/>
                    <a:pt x="24" y="0"/>
                    <a:pt x="53" y="0"/>
                  </a:cubicBezTo>
                  <a:cubicBezTo>
                    <a:pt x="81" y="0"/>
                    <a:pt x="105" y="20"/>
                    <a:pt x="105" y="52"/>
                  </a:cubicBezTo>
                  <a:close/>
                  <a:moveTo>
                    <a:pt x="53" y="80"/>
                  </a:moveTo>
                  <a:cubicBezTo>
                    <a:pt x="65" y="80"/>
                    <a:pt x="79" y="73"/>
                    <a:pt x="79" y="52"/>
                  </a:cubicBezTo>
                  <a:cubicBezTo>
                    <a:pt x="79" y="31"/>
                    <a:pt x="65" y="23"/>
                    <a:pt x="52" y="23"/>
                  </a:cubicBezTo>
                  <a:cubicBezTo>
                    <a:pt x="39" y="23"/>
                    <a:pt x="26" y="32"/>
                    <a:pt x="26" y="52"/>
                  </a:cubicBezTo>
                  <a:cubicBezTo>
                    <a:pt x="26" y="71"/>
                    <a:pt x="40" y="80"/>
                    <a:pt x="53" y="8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39" name="Freeform 28"/>
            <p:cNvSpPr>
              <a:spLocks/>
            </p:cNvSpPr>
            <p:nvPr/>
          </p:nvSpPr>
          <p:spPr bwMode="auto">
            <a:xfrm>
              <a:off x="2713" y="2562"/>
              <a:ext cx="218" cy="240"/>
            </a:xfrm>
            <a:custGeom>
              <a:avLst/>
              <a:gdLst>
                <a:gd name="T0" fmla="*/ 50 w 218"/>
                <a:gd name="T1" fmla="*/ 60 h 240"/>
                <a:gd name="T2" fmla="*/ 59 w 218"/>
                <a:gd name="T3" fmla="*/ 112 h 240"/>
                <a:gd name="T4" fmla="*/ 59 w 218"/>
                <a:gd name="T5" fmla="*/ 240 h 240"/>
                <a:gd name="T6" fmla="*/ 0 w 218"/>
                <a:gd name="T7" fmla="*/ 240 h 240"/>
                <a:gd name="T8" fmla="*/ 0 w 218"/>
                <a:gd name="T9" fmla="*/ 0 h 240"/>
                <a:gd name="T10" fmla="*/ 81 w 218"/>
                <a:gd name="T11" fmla="*/ 0 h 240"/>
                <a:gd name="T12" fmla="*/ 142 w 218"/>
                <a:gd name="T13" fmla="*/ 131 h 240"/>
                <a:gd name="T14" fmla="*/ 163 w 218"/>
                <a:gd name="T15" fmla="*/ 188 h 240"/>
                <a:gd name="T16" fmla="*/ 166 w 218"/>
                <a:gd name="T17" fmla="*/ 188 h 240"/>
                <a:gd name="T18" fmla="*/ 159 w 218"/>
                <a:gd name="T19" fmla="*/ 129 h 240"/>
                <a:gd name="T20" fmla="*/ 159 w 218"/>
                <a:gd name="T21" fmla="*/ 0 h 240"/>
                <a:gd name="T22" fmla="*/ 218 w 218"/>
                <a:gd name="T23" fmla="*/ 0 h 240"/>
                <a:gd name="T24" fmla="*/ 218 w 218"/>
                <a:gd name="T25" fmla="*/ 240 h 240"/>
                <a:gd name="T26" fmla="*/ 133 w 218"/>
                <a:gd name="T27" fmla="*/ 240 h 240"/>
                <a:gd name="T28" fmla="*/ 71 w 218"/>
                <a:gd name="T29" fmla="*/ 110 h 240"/>
                <a:gd name="T30" fmla="*/ 52 w 218"/>
                <a:gd name="T31" fmla="*/ 57 h 240"/>
                <a:gd name="T32" fmla="*/ 50 w 218"/>
                <a:gd name="T33" fmla="*/ 6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8" h="240">
                  <a:moveTo>
                    <a:pt x="50" y="60"/>
                  </a:moveTo>
                  <a:lnTo>
                    <a:pt x="59" y="112"/>
                  </a:lnTo>
                  <a:lnTo>
                    <a:pt x="59" y="240"/>
                  </a:lnTo>
                  <a:lnTo>
                    <a:pt x="0" y="240"/>
                  </a:lnTo>
                  <a:lnTo>
                    <a:pt x="0" y="0"/>
                  </a:lnTo>
                  <a:lnTo>
                    <a:pt x="81" y="0"/>
                  </a:lnTo>
                  <a:lnTo>
                    <a:pt x="142" y="131"/>
                  </a:lnTo>
                  <a:lnTo>
                    <a:pt x="163" y="188"/>
                  </a:lnTo>
                  <a:lnTo>
                    <a:pt x="166" y="188"/>
                  </a:lnTo>
                  <a:lnTo>
                    <a:pt x="159" y="129"/>
                  </a:lnTo>
                  <a:lnTo>
                    <a:pt x="159" y="0"/>
                  </a:lnTo>
                  <a:lnTo>
                    <a:pt x="218" y="0"/>
                  </a:lnTo>
                  <a:lnTo>
                    <a:pt x="218" y="240"/>
                  </a:lnTo>
                  <a:lnTo>
                    <a:pt x="133" y="240"/>
                  </a:lnTo>
                  <a:lnTo>
                    <a:pt x="71" y="110"/>
                  </a:lnTo>
                  <a:lnTo>
                    <a:pt x="52" y="57"/>
                  </a:lnTo>
                  <a:lnTo>
                    <a:pt x="50" y="6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40" name="Freeform 29"/>
            <p:cNvSpPr>
              <a:spLocks/>
            </p:cNvSpPr>
            <p:nvPr/>
          </p:nvSpPr>
          <p:spPr bwMode="auto">
            <a:xfrm>
              <a:off x="2959" y="2560"/>
              <a:ext cx="170" cy="245"/>
            </a:xfrm>
            <a:custGeom>
              <a:avLst/>
              <a:gdLst>
                <a:gd name="T0" fmla="*/ 17 w 72"/>
                <a:gd name="T1" fmla="*/ 70 h 103"/>
                <a:gd name="T2" fmla="*/ 36 w 72"/>
                <a:gd name="T3" fmla="*/ 81 h 103"/>
                <a:gd name="T4" fmla="*/ 46 w 72"/>
                <a:gd name="T5" fmla="*/ 72 h 103"/>
                <a:gd name="T6" fmla="*/ 33 w 72"/>
                <a:gd name="T7" fmla="*/ 61 h 103"/>
                <a:gd name="T8" fmla="*/ 33 w 72"/>
                <a:gd name="T9" fmla="*/ 61 h 103"/>
                <a:gd name="T10" fmla="*/ 3 w 72"/>
                <a:gd name="T11" fmla="*/ 30 h 103"/>
                <a:gd name="T12" fmla="*/ 37 w 72"/>
                <a:gd name="T13" fmla="*/ 0 h 103"/>
                <a:gd name="T14" fmla="*/ 69 w 72"/>
                <a:gd name="T15" fmla="*/ 19 h 103"/>
                <a:gd name="T16" fmla="*/ 52 w 72"/>
                <a:gd name="T17" fmla="*/ 29 h 103"/>
                <a:gd name="T18" fmla="*/ 38 w 72"/>
                <a:gd name="T19" fmla="*/ 22 h 103"/>
                <a:gd name="T20" fmla="*/ 28 w 72"/>
                <a:gd name="T21" fmla="*/ 30 h 103"/>
                <a:gd name="T22" fmla="*/ 40 w 72"/>
                <a:gd name="T23" fmla="*/ 39 h 103"/>
                <a:gd name="T24" fmla="*/ 71 w 72"/>
                <a:gd name="T25" fmla="*/ 74 h 103"/>
                <a:gd name="T26" fmla="*/ 36 w 72"/>
                <a:gd name="T27" fmla="*/ 103 h 103"/>
                <a:gd name="T28" fmla="*/ 0 w 72"/>
                <a:gd name="T29" fmla="*/ 82 h 103"/>
                <a:gd name="T30" fmla="*/ 17 w 72"/>
                <a:gd name="T31" fmla="*/ 7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2" h="103">
                  <a:moveTo>
                    <a:pt x="17" y="70"/>
                  </a:moveTo>
                  <a:cubicBezTo>
                    <a:pt x="24" y="80"/>
                    <a:pt x="32" y="81"/>
                    <a:pt x="36" y="81"/>
                  </a:cubicBezTo>
                  <a:cubicBezTo>
                    <a:pt x="42" y="81"/>
                    <a:pt x="46" y="77"/>
                    <a:pt x="46" y="72"/>
                  </a:cubicBezTo>
                  <a:cubicBezTo>
                    <a:pt x="46" y="65"/>
                    <a:pt x="39" y="62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23" y="58"/>
                    <a:pt x="3" y="51"/>
                    <a:pt x="3" y="30"/>
                  </a:cubicBezTo>
                  <a:cubicBezTo>
                    <a:pt x="3" y="8"/>
                    <a:pt x="21" y="0"/>
                    <a:pt x="37" y="0"/>
                  </a:cubicBezTo>
                  <a:cubicBezTo>
                    <a:pt x="49" y="0"/>
                    <a:pt x="61" y="6"/>
                    <a:pt x="69" y="1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48" y="24"/>
                    <a:pt x="44" y="22"/>
                    <a:pt x="38" y="22"/>
                  </a:cubicBezTo>
                  <a:cubicBezTo>
                    <a:pt x="33" y="22"/>
                    <a:pt x="28" y="24"/>
                    <a:pt x="28" y="30"/>
                  </a:cubicBezTo>
                  <a:cubicBezTo>
                    <a:pt x="28" y="35"/>
                    <a:pt x="35" y="37"/>
                    <a:pt x="40" y="39"/>
                  </a:cubicBezTo>
                  <a:cubicBezTo>
                    <a:pt x="55" y="43"/>
                    <a:pt x="72" y="50"/>
                    <a:pt x="71" y="74"/>
                  </a:cubicBezTo>
                  <a:cubicBezTo>
                    <a:pt x="70" y="94"/>
                    <a:pt x="52" y="103"/>
                    <a:pt x="36" y="103"/>
                  </a:cubicBezTo>
                  <a:cubicBezTo>
                    <a:pt x="24" y="103"/>
                    <a:pt x="9" y="99"/>
                    <a:pt x="0" y="82"/>
                  </a:cubicBezTo>
                  <a:lnTo>
                    <a:pt x="17" y="7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41" name="Rectangle 30"/>
            <p:cNvSpPr>
              <a:spLocks noChangeArrowheads="1"/>
            </p:cNvSpPr>
            <p:nvPr/>
          </p:nvSpPr>
          <p:spPr bwMode="auto">
            <a:xfrm>
              <a:off x="3279" y="1993"/>
              <a:ext cx="73" cy="269"/>
            </a:xfrm>
            <a:prstGeom prst="rect">
              <a:avLst/>
            </a:prstGeom>
            <a:solidFill>
              <a:srgbClr val="043B7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42" name="Rectangle 31"/>
            <p:cNvSpPr>
              <a:spLocks noChangeArrowheads="1"/>
            </p:cNvSpPr>
            <p:nvPr/>
          </p:nvSpPr>
          <p:spPr bwMode="auto">
            <a:xfrm>
              <a:off x="3279" y="2262"/>
              <a:ext cx="74" cy="269"/>
            </a:xfrm>
            <a:prstGeom prst="rect">
              <a:avLst/>
            </a:prstGeom>
            <a:solidFill>
              <a:srgbClr val="C0195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43" name="Rectangle 32"/>
            <p:cNvSpPr>
              <a:spLocks noChangeArrowheads="1"/>
            </p:cNvSpPr>
            <p:nvPr/>
          </p:nvSpPr>
          <p:spPr bwMode="auto">
            <a:xfrm>
              <a:off x="3279" y="2531"/>
              <a:ext cx="73" cy="271"/>
            </a:xfrm>
            <a:prstGeom prst="rect">
              <a:avLst/>
            </a:prstGeom>
            <a:solidFill>
              <a:srgbClr val="E35A1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44" name="Rectangle 33"/>
            <p:cNvSpPr>
              <a:spLocks noChangeArrowheads="1"/>
            </p:cNvSpPr>
            <p:nvPr/>
          </p:nvSpPr>
          <p:spPr bwMode="auto">
            <a:xfrm>
              <a:off x="3279" y="2802"/>
              <a:ext cx="73" cy="269"/>
            </a:xfrm>
            <a:prstGeom prst="rect">
              <a:avLst/>
            </a:prstGeom>
            <a:solidFill>
              <a:srgbClr val="FFE5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45" name="Freeform 34"/>
            <p:cNvSpPr>
              <a:spLocks/>
            </p:cNvSpPr>
            <p:nvPr/>
          </p:nvSpPr>
          <p:spPr bwMode="auto">
            <a:xfrm>
              <a:off x="3811" y="2386"/>
              <a:ext cx="198" cy="293"/>
            </a:xfrm>
            <a:custGeom>
              <a:avLst/>
              <a:gdLst>
                <a:gd name="T0" fmla="*/ 198 w 198"/>
                <a:gd name="T1" fmla="*/ 293 h 293"/>
                <a:gd name="T2" fmla="*/ 0 w 198"/>
                <a:gd name="T3" fmla="*/ 293 h 293"/>
                <a:gd name="T4" fmla="*/ 0 w 198"/>
                <a:gd name="T5" fmla="*/ 0 h 293"/>
                <a:gd name="T6" fmla="*/ 73 w 198"/>
                <a:gd name="T7" fmla="*/ 0 h 293"/>
                <a:gd name="T8" fmla="*/ 73 w 198"/>
                <a:gd name="T9" fmla="*/ 226 h 293"/>
                <a:gd name="T10" fmla="*/ 198 w 198"/>
                <a:gd name="T11" fmla="*/ 226 h 293"/>
                <a:gd name="T12" fmla="*/ 198 w 198"/>
                <a:gd name="T13" fmla="*/ 293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8" h="293">
                  <a:moveTo>
                    <a:pt x="198" y="293"/>
                  </a:moveTo>
                  <a:lnTo>
                    <a:pt x="0" y="293"/>
                  </a:lnTo>
                  <a:lnTo>
                    <a:pt x="0" y="0"/>
                  </a:lnTo>
                  <a:lnTo>
                    <a:pt x="73" y="0"/>
                  </a:lnTo>
                  <a:lnTo>
                    <a:pt x="73" y="226"/>
                  </a:lnTo>
                  <a:lnTo>
                    <a:pt x="198" y="226"/>
                  </a:lnTo>
                  <a:lnTo>
                    <a:pt x="198" y="29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46" name="Freeform 35"/>
            <p:cNvSpPr>
              <a:spLocks/>
            </p:cNvSpPr>
            <p:nvPr/>
          </p:nvSpPr>
          <p:spPr bwMode="auto">
            <a:xfrm>
              <a:off x="4047" y="2386"/>
              <a:ext cx="253" cy="297"/>
            </a:xfrm>
            <a:custGeom>
              <a:avLst/>
              <a:gdLst>
                <a:gd name="T0" fmla="*/ 32 w 107"/>
                <a:gd name="T1" fmla="*/ 0 h 125"/>
                <a:gd name="T2" fmla="*/ 32 w 107"/>
                <a:gd name="T3" fmla="*/ 77 h 125"/>
                <a:gd name="T4" fmla="*/ 54 w 107"/>
                <a:gd name="T5" fmla="*/ 98 h 125"/>
                <a:gd name="T6" fmla="*/ 75 w 107"/>
                <a:gd name="T7" fmla="*/ 77 h 125"/>
                <a:gd name="T8" fmla="*/ 75 w 107"/>
                <a:gd name="T9" fmla="*/ 0 h 125"/>
                <a:gd name="T10" fmla="*/ 107 w 107"/>
                <a:gd name="T11" fmla="*/ 0 h 125"/>
                <a:gd name="T12" fmla="*/ 107 w 107"/>
                <a:gd name="T13" fmla="*/ 77 h 125"/>
                <a:gd name="T14" fmla="*/ 53 w 107"/>
                <a:gd name="T15" fmla="*/ 125 h 125"/>
                <a:gd name="T16" fmla="*/ 0 w 107"/>
                <a:gd name="T17" fmla="*/ 77 h 125"/>
                <a:gd name="T18" fmla="*/ 0 w 107"/>
                <a:gd name="T19" fmla="*/ 0 h 125"/>
                <a:gd name="T20" fmla="*/ 32 w 107"/>
                <a:gd name="T21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7" h="125">
                  <a:moveTo>
                    <a:pt x="32" y="0"/>
                  </a:moveTo>
                  <a:cubicBezTo>
                    <a:pt x="32" y="77"/>
                    <a:pt x="32" y="77"/>
                    <a:pt x="32" y="77"/>
                  </a:cubicBezTo>
                  <a:cubicBezTo>
                    <a:pt x="32" y="87"/>
                    <a:pt x="41" y="98"/>
                    <a:pt x="54" y="98"/>
                  </a:cubicBezTo>
                  <a:cubicBezTo>
                    <a:pt x="65" y="98"/>
                    <a:pt x="75" y="87"/>
                    <a:pt x="75" y="77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7" y="77"/>
                    <a:pt x="107" y="77"/>
                    <a:pt x="107" y="77"/>
                  </a:cubicBezTo>
                  <a:cubicBezTo>
                    <a:pt x="107" y="108"/>
                    <a:pt x="77" y="125"/>
                    <a:pt x="53" y="125"/>
                  </a:cubicBezTo>
                  <a:cubicBezTo>
                    <a:pt x="30" y="125"/>
                    <a:pt x="0" y="109"/>
                    <a:pt x="0" y="7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3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47" name="Freeform 36"/>
            <p:cNvSpPr>
              <a:spLocks noEditPoints="1"/>
            </p:cNvSpPr>
            <p:nvPr/>
          </p:nvSpPr>
          <p:spPr bwMode="auto">
            <a:xfrm>
              <a:off x="4681" y="2381"/>
              <a:ext cx="303" cy="302"/>
            </a:xfrm>
            <a:custGeom>
              <a:avLst/>
              <a:gdLst>
                <a:gd name="T0" fmla="*/ 128 w 128"/>
                <a:gd name="T1" fmla="*/ 64 h 127"/>
                <a:gd name="T2" fmla="*/ 64 w 128"/>
                <a:gd name="T3" fmla="*/ 127 h 127"/>
                <a:gd name="T4" fmla="*/ 0 w 128"/>
                <a:gd name="T5" fmla="*/ 64 h 127"/>
                <a:gd name="T6" fmla="*/ 64 w 128"/>
                <a:gd name="T7" fmla="*/ 0 h 127"/>
                <a:gd name="T8" fmla="*/ 128 w 128"/>
                <a:gd name="T9" fmla="*/ 64 h 127"/>
                <a:gd name="T10" fmla="*/ 64 w 128"/>
                <a:gd name="T11" fmla="*/ 100 h 127"/>
                <a:gd name="T12" fmla="*/ 97 w 128"/>
                <a:gd name="T13" fmla="*/ 64 h 127"/>
                <a:gd name="T14" fmla="*/ 64 w 128"/>
                <a:gd name="T15" fmla="*/ 27 h 127"/>
                <a:gd name="T16" fmla="*/ 31 w 128"/>
                <a:gd name="T17" fmla="*/ 64 h 127"/>
                <a:gd name="T18" fmla="*/ 64 w 128"/>
                <a:gd name="T19" fmla="*/ 10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7">
                  <a:moveTo>
                    <a:pt x="128" y="64"/>
                  </a:moveTo>
                  <a:cubicBezTo>
                    <a:pt x="128" y="102"/>
                    <a:pt x="99" y="127"/>
                    <a:pt x="64" y="127"/>
                  </a:cubicBezTo>
                  <a:cubicBezTo>
                    <a:pt x="30" y="127"/>
                    <a:pt x="0" y="103"/>
                    <a:pt x="0" y="64"/>
                  </a:cubicBezTo>
                  <a:cubicBezTo>
                    <a:pt x="0" y="25"/>
                    <a:pt x="30" y="0"/>
                    <a:pt x="64" y="0"/>
                  </a:cubicBezTo>
                  <a:cubicBezTo>
                    <a:pt x="99" y="0"/>
                    <a:pt x="128" y="25"/>
                    <a:pt x="128" y="64"/>
                  </a:cubicBezTo>
                  <a:close/>
                  <a:moveTo>
                    <a:pt x="64" y="100"/>
                  </a:moveTo>
                  <a:cubicBezTo>
                    <a:pt x="81" y="100"/>
                    <a:pt x="97" y="91"/>
                    <a:pt x="97" y="64"/>
                  </a:cubicBezTo>
                  <a:cubicBezTo>
                    <a:pt x="97" y="37"/>
                    <a:pt x="80" y="27"/>
                    <a:pt x="64" y="27"/>
                  </a:cubicBezTo>
                  <a:cubicBezTo>
                    <a:pt x="47" y="27"/>
                    <a:pt x="31" y="39"/>
                    <a:pt x="31" y="64"/>
                  </a:cubicBezTo>
                  <a:cubicBezTo>
                    <a:pt x="31" y="88"/>
                    <a:pt x="48" y="100"/>
                    <a:pt x="64" y="10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48" name="Freeform 37"/>
            <p:cNvSpPr>
              <a:spLocks/>
            </p:cNvSpPr>
            <p:nvPr/>
          </p:nvSpPr>
          <p:spPr bwMode="auto">
            <a:xfrm>
              <a:off x="5036" y="2386"/>
              <a:ext cx="194" cy="293"/>
            </a:xfrm>
            <a:custGeom>
              <a:avLst/>
              <a:gdLst>
                <a:gd name="T0" fmla="*/ 194 w 194"/>
                <a:gd name="T1" fmla="*/ 64 h 293"/>
                <a:gd name="T2" fmla="*/ 73 w 194"/>
                <a:gd name="T3" fmla="*/ 64 h 293"/>
                <a:gd name="T4" fmla="*/ 73 w 194"/>
                <a:gd name="T5" fmla="*/ 119 h 293"/>
                <a:gd name="T6" fmla="*/ 191 w 194"/>
                <a:gd name="T7" fmla="*/ 119 h 293"/>
                <a:gd name="T8" fmla="*/ 191 w 194"/>
                <a:gd name="T9" fmla="*/ 183 h 293"/>
                <a:gd name="T10" fmla="*/ 73 w 194"/>
                <a:gd name="T11" fmla="*/ 183 h 293"/>
                <a:gd name="T12" fmla="*/ 73 w 194"/>
                <a:gd name="T13" fmla="*/ 293 h 293"/>
                <a:gd name="T14" fmla="*/ 0 w 194"/>
                <a:gd name="T15" fmla="*/ 293 h 293"/>
                <a:gd name="T16" fmla="*/ 0 w 194"/>
                <a:gd name="T17" fmla="*/ 0 h 293"/>
                <a:gd name="T18" fmla="*/ 194 w 194"/>
                <a:gd name="T19" fmla="*/ 0 h 293"/>
                <a:gd name="T20" fmla="*/ 194 w 194"/>
                <a:gd name="T21" fmla="*/ 64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4" h="293">
                  <a:moveTo>
                    <a:pt x="194" y="64"/>
                  </a:moveTo>
                  <a:lnTo>
                    <a:pt x="73" y="64"/>
                  </a:lnTo>
                  <a:lnTo>
                    <a:pt x="73" y="119"/>
                  </a:lnTo>
                  <a:lnTo>
                    <a:pt x="191" y="119"/>
                  </a:lnTo>
                  <a:lnTo>
                    <a:pt x="191" y="183"/>
                  </a:lnTo>
                  <a:lnTo>
                    <a:pt x="73" y="183"/>
                  </a:lnTo>
                  <a:lnTo>
                    <a:pt x="73" y="293"/>
                  </a:lnTo>
                  <a:lnTo>
                    <a:pt x="0" y="293"/>
                  </a:lnTo>
                  <a:lnTo>
                    <a:pt x="0" y="0"/>
                  </a:lnTo>
                  <a:lnTo>
                    <a:pt x="194" y="0"/>
                  </a:lnTo>
                  <a:lnTo>
                    <a:pt x="194" y="6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49" name="Freeform 38"/>
            <p:cNvSpPr>
              <a:spLocks/>
            </p:cNvSpPr>
            <p:nvPr/>
          </p:nvSpPr>
          <p:spPr bwMode="auto">
            <a:xfrm>
              <a:off x="5286" y="2386"/>
              <a:ext cx="239" cy="293"/>
            </a:xfrm>
            <a:custGeom>
              <a:avLst/>
              <a:gdLst>
                <a:gd name="T0" fmla="*/ 239 w 239"/>
                <a:gd name="T1" fmla="*/ 0 h 293"/>
                <a:gd name="T2" fmla="*/ 239 w 239"/>
                <a:gd name="T3" fmla="*/ 64 h 293"/>
                <a:gd name="T4" fmla="*/ 156 w 239"/>
                <a:gd name="T5" fmla="*/ 64 h 293"/>
                <a:gd name="T6" fmla="*/ 156 w 239"/>
                <a:gd name="T7" fmla="*/ 293 h 293"/>
                <a:gd name="T8" fmla="*/ 81 w 239"/>
                <a:gd name="T9" fmla="*/ 293 h 293"/>
                <a:gd name="T10" fmla="*/ 81 w 239"/>
                <a:gd name="T11" fmla="*/ 64 h 293"/>
                <a:gd name="T12" fmla="*/ 0 w 239"/>
                <a:gd name="T13" fmla="*/ 64 h 293"/>
                <a:gd name="T14" fmla="*/ 0 w 239"/>
                <a:gd name="T15" fmla="*/ 0 h 293"/>
                <a:gd name="T16" fmla="*/ 239 w 239"/>
                <a:gd name="T17" fmla="*/ 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9" h="293">
                  <a:moveTo>
                    <a:pt x="239" y="0"/>
                  </a:moveTo>
                  <a:lnTo>
                    <a:pt x="239" y="64"/>
                  </a:lnTo>
                  <a:lnTo>
                    <a:pt x="156" y="64"/>
                  </a:lnTo>
                  <a:lnTo>
                    <a:pt x="156" y="293"/>
                  </a:lnTo>
                  <a:lnTo>
                    <a:pt x="81" y="293"/>
                  </a:lnTo>
                  <a:lnTo>
                    <a:pt x="81" y="64"/>
                  </a:lnTo>
                  <a:lnTo>
                    <a:pt x="0" y="64"/>
                  </a:lnTo>
                  <a:lnTo>
                    <a:pt x="0" y="0"/>
                  </a:lnTo>
                  <a:lnTo>
                    <a:pt x="239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50" name="Freeform 39"/>
            <p:cNvSpPr>
              <a:spLocks/>
            </p:cNvSpPr>
            <p:nvPr/>
          </p:nvSpPr>
          <p:spPr bwMode="auto">
            <a:xfrm>
              <a:off x="3889" y="1993"/>
              <a:ext cx="293" cy="241"/>
            </a:xfrm>
            <a:custGeom>
              <a:avLst/>
              <a:gdLst>
                <a:gd name="T0" fmla="*/ 0 w 293"/>
                <a:gd name="T1" fmla="*/ 241 h 241"/>
                <a:gd name="T2" fmla="*/ 146 w 293"/>
                <a:gd name="T3" fmla="*/ 93 h 241"/>
                <a:gd name="T4" fmla="*/ 293 w 293"/>
                <a:gd name="T5" fmla="*/ 241 h 241"/>
                <a:gd name="T6" fmla="*/ 293 w 293"/>
                <a:gd name="T7" fmla="*/ 146 h 241"/>
                <a:gd name="T8" fmla="*/ 146 w 293"/>
                <a:gd name="T9" fmla="*/ 0 h 241"/>
                <a:gd name="T10" fmla="*/ 0 w 293"/>
                <a:gd name="T11" fmla="*/ 148 h 241"/>
                <a:gd name="T12" fmla="*/ 0 w 293"/>
                <a:gd name="T13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241">
                  <a:moveTo>
                    <a:pt x="0" y="241"/>
                  </a:moveTo>
                  <a:lnTo>
                    <a:pt x="146" y="93"/>
                  </a:lnTo>
                  <a:lnTo>
                    <a:pt x="293" y="241"/>
                  </a:lnTo>
                  <a:lnTo>
                    <a:pt x="293" y="146"/>
                  </a:lnTo>
                  <a:lnTo>
                    <a:pt x="146" y="0"/>
                  </a:lnTo>
                  <a:lnTo>
                    <a:pt x="0" y="148"/>
                  </a:lnTo>
                  <a:lnTo>
                    <a:pt x="0" y="2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51" name="Freeform 40"/>
            <p:cNvSpPr>
              <a:spLocks/>
            </p:cNvSpPr>
            <p:nvPr/>
          </p:nvSpPr>
          <p:spPr bwMode="auto">
            <a:xfrm>
              <a:off x="3498" y="2384"/>
              <a:ext cx="242" cy="295"/>
            </a:xfrm>
            <a:custGeom>
              <a:avLst/>
              <a:gdLst>
                <a:gd name="T0" fmla="*/ 239 w 242"/>
                <a:gd name="T1" fmla="*/ 295 h 295"/>
                <a:gd name="T2" fmla="*/ 95 w 242"/>
                <a:gd name="T3" fmla="*/ 147 h 295"/>
                <a:gd name="T4" fmla="*/ 242 w 242"/>
                <a:gd name="T5" fmla="*/ 0 h 295"/>
                <a:gd name="T6" fmla="*/ 147 w 242"/>
                <a:gd name="T7" fmla="*/ 0 h 295"/>
                <a:gd name="T8" fmla="*/ 0 w 242"/>
                <a:gd name="T9" fmla="*/ 147 h 295"/>
                <a:gd name="T10" fmla="*/ 147 w 242"/>
                <a:gd name="T11" fmla="*/ 295 h 295"/>
                <a:gd name="T12" fmla="*/ 239 w 242"/>
                <a:gd name="T13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2" h="295">
                  <a:moveTo>
                    <a:pt x="239" y="295"/>
                  </a:moveTo>
                  <a:lnTo>
                    <a:pt x="95" y="147"/>
                  </a:lnTo>
                  <a:lnTo>
                    <a:pt x="242" y="0"/>
                  </a:lnTo>
                  <a:lnTo>
                    <a:pt x="147" y="0"/>
                  </a:lnTo>
                  <a:lnTo>
                    <a:pt x="0" y="147"/>
                  </a:lnTo>
                  <a:lnTo>
                    <a:pt x="147" y="295"/>
                  </a:lnTo>
                  <a:lnTo>
                    <a:pt x="239" y="29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52" name="Freeform 41"/>
            <p:cNvSpPr>
              <a:spLocks/>
            </p:cNvSpPr>
            <p:nvPr/>
          </p:nvSpPr>
          <p:spPr bwMode="auto">
            <a:xfrm>
              <a:off x="3889" y="2831"/>
              <a:ext cx="293" cy="240"/>
            </a:xfrm>
            <a:custGeom>
              <a:avLst/>
              <a:gdLst>
                <a:gd name="T0" fmla="*/ 293 w 293"/>
                <a:gd name="T1" fmla="*/ 0 h 240"/>
                <a:gd name="T2" fmla="*/ 146 w 293"/>
                <a:gd name="T3" fmla="*/ 147 h 240"/>
                <a:gd name="T4" fmla="*/ 0 w 293"/>
                <a:gd name="T5" fmla="*/ 0 h 240"/>
                <a:gd name="T6" fmla="*/ 0 w 293"/>
                <a:gd name="T7" fmla="*/ 93 h 240"/>
                <a:gd name="T8" fmla="*/ 146 w 293"/>
                <a:gd name="T9" fmla="*/ 240 h 240"/>
                <a:gd name="T10" fmla="*/ 293 w 293"/>
                <a:gd name="T11" fmla="*/ 95 h 240"/>
                <a:gd name="T12" fmla="*/ 293 w 293"/>
                <a:gd name="T13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240">
                  <a:moveTo>
                    <a:pt x="293" y="0"/>
                  </a:moveTo>
                  <a:lnTo>
                    <a:pt x="146" y="147"/>
                  </a:lnTo>
                  <a:lnTo>
                    <a:pt x="0" y="0"/>
                  </a:lnTo>
                  <a:lnTo>
                    <a:pt x="0" y="93"/>
                  </a:lnTo>
                  <a:lnTo>
                    <a:pt x="146" y="240"/>
                  </a:lnTo>
                  <a:lnTo>
                    <a:pt x="293" y="95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53" name="Freeform 42"/>
            <p:cNvSpPr>
              <a:spLocks/>
            </p:cNvSpPr>
            <p:nvPr/>
          </p:nvSpPr>
          <p:spPr bwMode="auto">
            <a:xfrm>
              <a:off x="4532" y="2384"/>
              <a:ext cx="151" cy="107"/>
            </a:xfrm>
            <a:custGeom>
              <a:avLst/>
              <a:gdLst>
                <a:gd name="T0" fmla="*/ 45 w 151"/>
                <a:gd name="T1" fmla="*/ 107 h 107"/>
                <a:gd name="T2" fmla="*/ 151 w 151"/>
                <a:gd name="T3" fmla="*/ 0 h 107"/>
                <a:gd name="T4" fmla="*/ 59 w 151"/>
                <a:gd name="T5" fmla="*/ 0 h 107"/>
                <a:gd name="T6" fmla="*/ 0 w 151"/>
                <a:gd name="T7" fmla="*/ 61 h 107"/>
                <a:gd name="T8" fmla="*/ 45 w 151"/>
                <a:gd name="T9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107">
                  <a:moveTo>
                    <a:pt x="45" y="107"/>
                  </a:moveTo>
                  <a:lnTo>
                    <a:pt x="151" y="0"/>
                  </a:lnTo>
                  <a:lnTo>
                    <a:pt x="59" y="0"/>
                  </a:lnTo>
                  <a:lnTo>
                    <a:pt x="0" y="61"/>
                  </a:lnTo>
                  <a:lnTo>
                    <a:pt x="45" y="10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54" name="Freeform 43"/>
            <p:cNvSpPr>
              <a:spLocks/>
            </p:cNvSpPr>
            <p:nvPr/>
          </p:nvSpPr>
          <p:spPr bwMode="auto">
            <a:xfrm>
              <a:off x="4532" y="2574"/>
              <a:ext cx="151" cy="105"/>
            </a:xfrm>
            <a:custGeom>
              <a:avLst/>
              <a:gdLst>
                <a:gd name="T0" fmla="*/ 0 w 151"/>
                <a:gd name="T1" fmla="*/ 45 h 105"/>
                <a:gd name="T2" fmla="*/ 59 w 151"/>
                <a:gd name="T3" fmla="*/ 105 h 105"/>
                <a:gd name="T4" fmla="*/ 151 w 151"/>
                <a:gd name="T5" fmla="*/ 105 h 105"/>
                <a:gd name="T6" fmla="*/ 45 w 151"/>
                <a:gd name="T7" fmla="*/ 0 h 105"/>
                <a:gd name="T8" fmla="*/ 0 w 151"/>
                <a:gd name="T9" fmla="*/ 4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105">
                  <a:moveTo>
                    <a:pt x="0" y="45"/>
                  </a:moveTo>
                  <a:lnTo>
                    <a:pt x="59" y="105"/>
                  </a:lnTo>
                  <a:lnTo>
                    <a:pt x="151" y="105"/>
                  </a:lnTo>
                  <a:lnTo>
                    <a:pt x="45" y="0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  <p:sp>
          <p:nvSpPr>
            <p:cNvPr id="155" name="Freeform 44"/>
            <p:cNvSpPr>
              <a:spLocks/>
            </p:cNvSpPr>
            <p:nvPr/>
          </p:nvSpPr>
          <p:spPr bwMode="auto">
            <a:xfrm>
              <a:off x="4333" y="2386"/>
              <a:ext cx="239" cy="293"/>
            </a:xfrm>
            <a:custGeom>
              <a:avLst/>
              <a:gdLst>
                <a:gd name="T0" fmla="*/ 0 w 239"/>
                <a:gd name="T1" fmla="*/ 0 h 293"/>
                <a:gd name="T2" fmla="*/ 145 w 239"/>
                <a:gd name="T3" fmla="*/ 145 h 293"/>
                <a:gd name="T4" fmla="*/ 0 w 239"/>
                <a:gd name="T5" fmla="*/ 293 h 293"/>
                <a:gd name="T6" fmla="*/ 93 w 239"/>
                <a:gd name="T7" fmla="*/ 293 h 293"/>
                <a:gd name="T8" fmla="*/ 239 w 239"/>
                <a:gd name="T9" fmla="*/ 145 h 293"/>
                <a:gd name="T10" fmla="*/ 93 w 239"/>
                <a:gd name="T11" fmla="*/ 0 h 293"/>
                <a:gd name="T12" fmla="*/ 0 w 239"/>
                <a:gd name="T13" fmla="*/ 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9" h="293">
                  <a:moveTo>
                    <a:pt x="0" y="0"/>
                  </a:moveTo>
                  <a:lnTo>
                    <a:pt x="145" y="145"/>
                  </a:lnTo>
                  <a:lnTo>
                    <a:pt x="0" y="293"/>
                  </a:lnTo>
                  <a:lnTo>
                    <a:pt x="93" y="293"/>
                  </a:lnTo>
                  <a:lnTo>
                    <a:pt x="239" y="145"/>
                  </a:lnTo>
                  <a:lnTo>
                    <a:pt x="9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pl-PL" kern="1200">
                <a:solidFill>
                  <a:prstClr val="black"/>
                </a:solidFill>
                <a:ea typeface="+mn-ea"/>
                <a:cs typeface="+mn-cs"/>
              </a:endParaRPr>
            </a:p>
          </p:txBody>
        </p:sp>
      </p:grpSp>
      <p:sp>
        <p:nvSpPr>
          <p:cNvPr id="3" name="Tytuł 2"/>
          <p:cNvSpPr>
            <a:spLocks noGrp="1"/>
          </p:cNvSpPr>
          <p:nvPr>
            <p:ph type="title" hasCustomPrompt="1"/>
          </p:nvPr>
        </p:nvSpPr>
        <p:spPr>
          <a:xfrm>
            <a:off x="581926" y="2225557"/>
            <a:ext cx="3644336" cy="376967"/>
          </a:xfrm>
        </p:spPr>
        <p:txBody>
          <a:bodyPr/>
          <a:lstStyle>
            <a:lvl1pPr>
              <a:defRPr sz="2400" b="0" baseline="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Edit </a:t>
            </a:r>
            <a:r>
              <a:rPr lang="pl-PL" dirty="0" err="1"/>
              <a:t>Title</a:t>
            </a:r>
            <a:r>
              <a:rPr lang="pl-PL" dirty="0"/>
              <a:t> 1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10" hasCustomPrompt="1"/>
          </p:nvPr>
        </p:nvSpPr>
        <p:spPr>
          <a:xfrm>
            <a:off x="581926" y="3087450"/>
            <a:ext cx="3644336" cy="630622"/>
          </a:xfrm>
        </p:spPr>
        <p:txBody>
          <a:bodyPr>
            <a:normAutofit/>
          </a:bodyPr>
          <a:lstStyle>
            <a:lvl1pPr marL="0" indent="0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dirty="0"/>
              <a:t>Edit </a:t>
            </a:r>
            <a:r>
              <a:rPr lang="pl-PL" dirty="0" err="1"/>
              <a:t>Text</a:t>
            </a:r>
            <a:r>
              <a:rPr lang="pl-PL" dirty="0"/>
              <a:t> </a:t>
            </a:r>
          </a:p>
        </p:txBody>
      </p:sp>
      <p:sp>
        <p:nvSpPr>
          <p:cNvPr id="62" name="Symbol zastępczy tekstu 4"/>
          <p:cNvSpPr>
            <a:spLocks noGrp="1"/>
          </p:cNvSpPr>
          <p:nvPr>
            <p:ph type="body" sz="quarter" idx="11" hasCustomPrompt="1"/>
          </p:nvPr>
        </p:nvSpPr>
        <p:spPr>
          <a:xfrm>
            <a:off x="581926" y="2571750"/>
            <a:ext cx="3644336" cy="387234"/>
          </a:xfrm>
        </p:spPr>
        <p:txBody>
          <a:bodyPr anchor="ctr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pl-PL" dirty="0"/>
              <a:t>Edit </a:t>
            </a:r>
            <a:r>
              <a:rPr lang="pl-PL" dirty="0" err="1"/>
              <a:t>Title</a:t>
            </a:r>
            <a:r>
              <a:rPr lang="pl-PL" dirty="0"/>
              <a:t> 2</a:t>
            </a:r>
          </a:p>
        </p:txBody>
      </p:sp>
    </p:spTree>
    <p:extLst>
      <p:ext uri="{BB962C8B-B14F-4D97-AF65-F5344CB8AC3E}">
        <p14:creationId xmlns:p14="http://schemas.microsoft.com/office/powerpoint/2010/main" val="38613189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2"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4" name="Shape 1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355" y="2"/>
            <a:ext cx="9141291" cy="513698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5" name="Shape 145"/>
          <p:cNvGrpSpPr/>
          <p:nvPr/>
        </p:nvGrpSpPr>
        <p:grpSpPr>
          <a:xfrm>
            <a:off x="8176861" y="4339892"/>
            <a:ext cx="438164" cy="423513"/>
            <a:chOff x="2074" y="843"/>
            <a:chExt cx="1615" cy="1561"/>
          </a:xfrm>
        </p:grpSpPr>
        <p:sp>
          <p:nvSpPr>
            <p:cNvPr id="146" name="Shape 146"/>
            <p:cNvSpPr/>
            <p:nvPr/>
          </p:nvSpPr>
          <p:spPr>
            <a:xfrm>
              <a:off x="2074" y="1379"/>
              <a:ext cx="1525" cy="44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0"/>
                  </a:moveTo>
                  <a:cubicBezTo>
                    <a:pt x="120000" y="0"/>
                    <a:pt x="120000" y="0"/>
                    <a:pt x="120000" y="0"/>
                  </a:cubicBezTo>
                  <a:cubicBezTo>
                    <a:pt x="120000" y="119358"/>
                    <a:pt x="120000" y="119358"/>
                    <a:pt x="120000" y="119358"/>
                  </a:cubicBezTo>
                  <a:cubicBezTo>
                    <a:pt x="80061" y="120000"/>
                    <a:pt x="39938" y="119358"/>
                    <a:pt x="0" y="120000"/>
                  </a:cubicBezTo>
                  <a:cubicBezTo>
                    <a:pt x="0" y="641"/>
                    <a:pt x="0" y="641"/>
                    <a:pt x="0" y="641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68544" y="26310"/>
                  </a:moveTo>
                  <a:cubicBezTo>
                    <a:pt x="67058" y="27593"/>
                    <a:pt x="64272" y="26310"/>
                    <a:pt x="62043" y="26310"/>
                  </a:cubicBezTo>
                  <a:cubicBezTo>
                    <a:pt x="58699" y="26310"/>
                    <a:pt x="58699" y="26310"/>
                    <a:pt x="58699" y="26310"/>
                  </a:cubicBezTo>
                  <a:cubicBezTo>
                    <a:pt x="57399" y="26310"/>
                    <a:pt x="56099" y="26951"/>
                    <a:pt x="55356" y="26310"/>
                  </a:cubicBezTo>
                  <a:cubicBezTo>
                    <a:pt x="54798" y="25668"/>
                    <a:pt x="54427" y="23101"/>
                    <a:pt x="53869" y="23743"/>
                  </a:cubicBezTo>
                  <a:cubicBezTo>
                    <a:pt x="53684" y="28877"/>
                    <a:pt x="53498" y="37219"/>
                    <a:pt x="53684" y="42352"/>
                  </a:cubicBezTo>
                  <a:cubicBezTo>
                    <a:pt x="54241" y="42352"/>
                    <a:pt x="54241" y="42352"/>
                    <a:pt x="54241" y="42352"/>
                  </a:cubicBezTo>
                  <a:cubicBezTo>
                    <a:pt x="54613" y="32085"/>
                    <a:pt x="56842" y="28235"/>
                    <a:pt x="60371" y="30802"/>
                  </a:cubicBezTo>
                  <a:cubicBezTo>
                    <a:pt x="60371" y="75080"/>
                    <a:pt x="60371" y="75080"/>
                    <a:pt x="60371" y="75080"/>
                  </a:cubicBezTo>
                  <a:cubicBezTo>
                    <a:pt x="60371" y="82780"/>
                    <a:pt x="60557" y="88556"/>
                    <a:pt x="58699" y="89839"/>
                  </a:cubicBezTo>
                  <a:cubicBezTo>
                    <a:pt x="57956" y="90481"/>
                    <a:pt x="57027" y="89197"/>
                    <a:pt x="57399" y="92406"/>
                  </a:cubicBezTo>
                  <a:cubicBezTo>
                    <a:pt x="60185" y="93048"/>
                    <a:pt x="63900" y="93689"/>
                    <a:pt x="66501" y="92406"/>
                  </a:cubicBezTo>
                  <a:cubicBezTo>
                    <a:pt x="66501" y="90481"/>
                    <a:pt x="66501" y="90481"/>
                    <a:pt x="66501" y="90481"/>
                  </a:cubicBezTo>
                  <a:cubicBezTo>
                    <a:pt x="65015" y="89839"/>
                    <a:pt x="63900" y="89197"/>
                    <a:pt x="63715" y="83422"/>
                  </a:cubicBezTo>
                  <a:cubicBezTo>
                    <a:pt x="63343" y="76363"/>
                    <a:pt x="63715" y="66096"/>
                    <a:pt x="63715" y="57112"/>
                  </a:cubicBezTo>
                  <a:cubicBezTo>
                    <a:pt x="63715" y="30160"/>
                    <a:pt x="63715" y="30160"/>
                    <a:pt x="63715" y="30160"/>
                  </a:cubicBezTo>
                  <a:cubicBezTo>
                    <a:pt x="65572" y="30802"/>
                    <a:pt x="67244" y="29518"/>
                    <a:pt x="68359" y="32085"/>
                  </a:cubicBezTo>
                  <a:cubicBezTo>
                    <a:pt x="69287" y="34010"/>
                    <a:pt x="69102" y="38502"/>
                    <a:pt x="69659" y="42352"/>
                  </a:cubicBezTo>
                  <a:cubicBezTo>
                    <a:pt x="70402" y="42352"/>
                    <a:pt x="70402" y="42352"/>
                    <a:pt x="70402" y="42352"/>
                  </a:cubicBezTo>
                  <a:cubicBezTo>
                    <a:pt x="70402" y="36577"/>
                    <a:pt x="70030" y="28877"/>
                    <a:pt x="70030" y="23743"/>
                  </a:cubicBezTo>
                  <a:cubicBezTo>
                    <a:pt x="69659" y="23101"/>
                    <a:pt x="69287" y="25668"/>
                    <a:pt x="68544" y="26310"/>
                  </a:cubicBezTo>
                  <a:moveTo>
                    <a:pt x="38452" y="44278"/>
                  </a:moveTo>
                  <a:cubicBezTo>
                    <a:pt x="38637" y="61604"/>
                    <a:pt x="45139" y="62245"/>
                    <a:pt x="46811" y="72513"/>
                  </a:cubicBezTo>
                  <a:cubicBezTo>
                    <a:pt x="48111" y="81497"/>
                    <a:pt x="46439" y="91764"/>
                    <a:pt x="43281" y="90481"/>
                  </a:cubicBezTo>
                  <a:cubicBezTo>
                    <a:pt x="40681" y="89197"/>
                    <a:pt x="39752" y="80855"/>
                    <a:pt x="38637" y="73796"/>
                  </a:cubicBezTo>
                  <a:cubicBezTo>
                    <a:pt x="38452" y="74438"/>
                    <a:pt x="38080" y="74438"/>
                    <a:pt x="37894" y="74438"/>
                  </a:cubicBezTo>
                  <a:cubicBezTo>
                    <a:pt x="37894" y="79572"/>
                    <a:pt x="38452" y="85347"/>
                    <a:pt x="38637" y="90481"/>
                  </a:cubicBezTo>
                  <a:cubicBezTo>
                    <a:pt x="43653" y="99465"/>
                    <a:pt x="49783" y="93048"/>
                    <a:pt x="50154" y="76363"/>
                  </a:cubicBezTo>
                  <a:cubicBezTo>
                    <a:pt x="50526" y="68021"/>
                    <a:pt x="49411" y="62245"/>
                    <a:pt x="48297" y="59037"/>
                  </a:cubicBezTo>
                  <a:cubicBezTo>
                    <a:pt x="46253" y="53262"/>
                    <a:pt x="43095" y="51978"/>
                    <a:pt x="41795" y="44278"/>
                  </a:cubicBezTo>
                  <a:cubicBezTo>
                    <a:pt x="41052" y="39144"/>
                    <a:pt x="41609" y="32727"/>
                    <a:pt x="42910" y="30160"/>
                  </a:cubicBezTo>
                  <a:cubicBezTo>
                    <a:pt x="45139" y="25668"/>
                    <a:pt x="46996" y="30802"/>
                    <a:pt x="47925" y="35935"/>
                  </a:cubicBezTo>
                  <a:cubicBezTo>
                    <a:pt x="47925" y="37219"/>
                    <a:pt x="48297" y="41711"/>
                    <a:pt x="48668" y="41711"/>
                  </a:cubicBezTo>
                  <a:cubicBezTo>
                    <a:pt x="48854" y="41711"/>
                    <a:pt x="49040" y="41069"/>
                    <a:pt x="49411" y="41069"/>
                  </a:cubicBezTo>
                  <a:cubicBezTo>
                    <a:pt x="49411" y="37219"/>
                    <a:pt x="48854" y="32085"/>
                    <a:pt x="48854" y="26951"/>
                  </a:cubicBezTo>
                  <a:cubicBezTo>
                    <a:pt x="44210" y="20534"/>
                    <a:pt x="38452" y="26310"/>
                    <a:pt x="38452" y="44278"/>
                  </a:cubicBezTo>
                  <a:moveTo>
                    <a:pt x="8173" y="26951"/>
                  </a:moveTo>
                  <a:cubicBezTo>
                    <a:pt x="8173" y="28877"/>
                    <a:pt x="8173" y="28877"/>
                    <a:pt x="8173" y="28877"/>
                  </a:cubicBezTo>
                  <a:cubicBezTo>
                    <a:pt x="10959" y="27593"/>
                    <a:pt x="10773" y="36577"/>
                    <a:pt x="10773" y="45561"/>
                  </a:cubicBezTo>
                  <a:cubicBezTo>
                    <a:pt x="10773" y="59679"/>
                    <a:pt x="10773" y="59679"/>
                    <a:pt x="10773" y="59679"/>
                  </a:cubicBezTo>
                  <a:cubicBezTo>
                    <a:pt x="10773" y="68021"/>
                    <a:pt x="11331" y="86631"/>
                    <a:pt x="9845" y="89197"/>
                  </a:cubicBezTo>
                  <a:cubicBezTo>
                    <a:pt x="9102" y="90481"/>
                    <a:pt x="7801" y="88556"/>
                    <a:pt x="7987" y="92406"/>
                  </a:cubicBezTo>
                  <a:cubicBezTo>
                    <a:pt x="12445" y="93689"/>
                    <a:pt x="17461" y="92406"/>
                    <a:pt x="21919" y="93048"/>
                  </a:cubicBezTo>
                  <a:cubicBezTo>
                    <a:pt x="22291" y="87272"/>
                    <a:pt x="22848" y="82139"/>
                    <a:pt x="23034" y="76363"/>
                  </a:cubicBezTo>
                  <a:cubicBezTo>
                    <a:pt x="21919" y="74438"/>
                    <a:pt x="21919" y="77647"/>
                    <a:pt x="21733" y="79572"/>
                  </a:cubicBezTo>
                  <a:cubicBezTo>
                    <a:pt x="20990" y="86631"/>
                    <a:pt x="19876" y="89197"/>
                    <a:pt x="17275" y="89197"/>
                  </a:cubicBezTo>
                  <a:cubicBezTo>
                    <a:pt x="15603" y="89197"/>
                    <a:pt x="14303" y="88556"/>
                    <a:pt x="14117" y="81497"/>
                  </a:cubicBezTo>
                  <a:cubicBezTo>
                    <a:pt x="13931" y="75080"/>
                    <a:pt x="14117" y="66737"/>
                    <a:pt x="14117" y="59037"/>
                  </a:cubicBezTo>
                  <a:cubicBezTo>
                    <a:pt x="14117" y="50695"/>
                    <a:pt x="13931" y="42352"/>
                    <a:pt x="14117" y="35935"/>
                  </a:cubicBezTo>
                  <a:cubicBezTo>
                    <a:pt x="14117" y="30802"/>
                    <a:pt x="14674" y="30160"/>
                    <a:pt x="15789" y="28877"/>
                  </a:cubicBezTo>
                  <a:cubicBezTo>
                    <a:pt x="16160" y="28877"/>
                    <a:pt x="16904" y="30160"/>
                    <a:pt x="16718" y="26951"/>
                  </a:cubicBezTo>
                  <a:cubicBezTo>
                    <a:pt x="14117" y="25668"/>
                    <a:pt x="10959" y="26310"/>
                    <a:pt x="8173" y="26310"/>
                  </a:cubicBezTo>
                  <a:cubicBezTo>
                    <a:pt x="8173" y="26310"/>
                    <a:pt x="8173" y="26310"/>
                    <a:pt x="8173" y="26951"/>
                  </a:cubicBezTo>
                  <a:moveTo>
                    <a:pt x="25820" y="26951"/>
                  </a:moveTo>
                  <a:cubicBezTo>
                    <a:pt x="25820" y="28877"/>
                    <a:pt x="25820" y="28877"/>
                    <a:pt x="25820" y="28877"/>
                  </a:cubicBezTo>
                  <a:cubicBezTo>
                    <a:pt x="27306" y="28877"/>
                    <a:pt x="28049" y="30160"/>
                    <a:pt x="28235" y="35935"/>
                  </a:cubicBezTo>
                  <a:cubicBezTo>
                    <a:pt x="28421" y="42352"/>
                    <a:pt x="28235" y="50053"/>
                    <a:pt x="28235" y="59679"/>
                  </a:cubicBezTo>
                  <a:cubicBezTo>
                    <a:pt x="28235" y="68021"/>
                    <a:pt x="28421" y="77005"/>
                    <a:pt x="28235" y="83422"/>
                  </a:cubicBezTo>
                  <a:cubicBezTo>
                    <a:pt x="28235" y="84705"/>
                    <a:pt x="28049" y="87272"/>
                    <a:pt x="28049" y="87914"/>
                  </a:cubicBezTo>
                  <a:cubicBezTo>
                    <a:pt x="27492" y="89839"/>
                    <a:pt x="25820" y="89839"/>
                    <a:pt x="25820" y="91122"/>
                  </a:cubicBezTo>
                  <a:cubicBezTo>
                    <a:pt x="25634" y="91764"/>
                    <a:pt x="25820" y="91764"/>
                    <a:pt x="25820" y="92406"/>
                  </a:cubicBezTo>
                  <a:cubicBezTo>
                    <a:pt x="27120" y="93689"/>
                    <a:pt x="30092" y="93048"/>
                    <a:pt x="32136" y="93048"/>
                  </a:cubicBezTo>
                  <a:cubicBezTo>
                    <a:pt x="32879" y="93048"/>
                    <a:pt x="34551" y="94331"/>
                    <a:pt x="34179" y="90481"/>
                  </a:cubicBezTo>
                  <a:cubicBezTo>
                    <a:pt x="33622" y="89839"/>
                    <a:pt x="32507" y="89839"/>
                    <a:pt x="32136" y="88556"/>
                  </a:cubicBezTo>
                  <a:cubicBezTo>
                    <a:pt x="31578" y="86631"/>
                    <a:pt x="31578" y="79572"/>
                    <a:pt x="31578" y="75721"/>
                  </a:cubicBezTo>
                  <a:cubicBezTo>
                    <a:pt x="31578" y="60320"/>
                    <a:pt x="31578" y="60320"/>
                    <a:pt x="31578" y="60320"/>
                  </a:cubicBezTo>
                  <a:cubicBezTo>
                    <a:pt x="31578" y="52620"/>
                    <a:pt x="31021" y="34010"/>
                    <a:pt x="32136" y="30802"/>
                  </a:cubicBezTo>
                  <a:cubicBezTo>
                    <a:pt x="32693" y="28235"/>
                    <a:pt x="34551" y="30160"/>
                    <a:pt x="34179" y="26310"/>
                  </a:cubicBezTo>
                  <a:cubicBezTo>
                    <a:pt x="31578" y="25668"/>
                    <a:pt x="28606" y="26310"/>
                    <a:pt x="25820" y="26310"/>
                  </a:cubicBezTo>
                  <a:cubicBezTo>
                    <a:pt x="25820" y="26310"/>
                    <a:pt x="25820" y="26310"/>
                    <a:pt x="25820" y="26951"/>
                  </a:cubicBezTo>
                  <a:moveTo>
                    <a:pt x="73746" y="28877"/>
                  </a:moveTo>
                  <a:cubicBezTo>
                    <a:pt x="76160" y="28235"/>
                    <a:pt x="76160" y="34010"/>
                    <a:pt x="76346" y="42994"/>
                  </a:cubicBezTo>
                  <a:cubicBezTo>
                    <a:pt x="76346" y="53262"/>
                    <a:pt x="76346" y="63529"/>
                    <a:pt x="76346" y="73796"/>
                  </a:cubicBezTo>
                  <a:cubicBezTo>
                    <a:pt x="76346" y="78930"/>
                    <a:pt x="76346" y="85989"/>
                    <a:pt x="75789" y="87914"/>
                  </a:cubicBezTo>
                  <a:cubicBezTo>
                    <a:pt x="75232" y="90481"/>
                    <a:pt x="73931" y="89197"/>
                    <a:pt x="73374" y="90481"/>
                  </a:cubicBezTo>
                  <a:cubicBezTo>
                    <a:pt x="73374" y="92406"/>
                    <a:pt x="73374" y="92406"/>
                    <a:pt x="73374" y="92406"/>
                  </a:cubicBezTo>
                  <a:cubicBezTo>
                    <a:pt x="78204" y="93048"/>
                    <a:pt x="83219" y="93048"/>
                    <a:pt x="88049" y="93048"/>
                  </a:cubicBezTo>
                  <a:cubicBezTo>
                    <a:pt x="88421" y="87914"/>
                    <a:pt x="88792" y="82139"/>
                    <a:pt x="88978" y="76363"/>
                  </a:cubicBezTo>
                  <a:cubicBezTo>
                    <a:pt x="87863" y="74438"/>
                    <a:pt x="87863" y="78930"/>
                    <a:pt x="87492" y="81497"/>
                  </a:cubicBezTo>
                  <a:cubicBezTo>
                    <a:pt x="86749" y="87272"/>
                    <a:pt x="85448" y="89197"/>
                    <a:pt x="83034" y="89197"/>
                  </a:cubicBezTo>
                  <a:cubicBezTo>
                    <a:pt x="82476" y="89197"/>
                    <a:pt x="80990" y="89197"/>
                    <a:pt x="80247" y="87914"/>
                  </a:cubicBezTo>
                  <a:cubicBezTo>
                    <a:pt x="79504" y="86631"/>
                    <a:pt x="79504" y="80213"/>
                    <a:pt x="79504" y="75721"/>
                  </a:cubicBezTo>
                  <a:cubicBezTo>
                    <a:pt x="79504" y="69946"/>
                    <a:pt x="79504" y="64812"/>
                    <a:pt x="79504" y="60320"/>
                  </a:cubicBezTo>
                  <a:cubicBezTo>
                    <a:pt x="81176" y="61604"/>
                    <a:pt x="83405" y="59037"/>
                    <a:pt x="84520" y="61604"/>
                  </a:cubicBezTo>
                  <a:cubicBezTo>
                    <a:pt x="85077" y="63529"/>
                    <a:pt x="84705" y="66737"/>
                    <a:pt x="85263" y="69304"/>
                  </a:cubicBezTo>
                  <a:cubicBezTo>
                    <a:pt x="86006" y="69304"/>
                    <a:pt x="86006" y="69304"/>
                    <a:pt x="86006" y="69304"/>
                  </a:cubicBezTo>
                  <a:cubicBezTo>
                    <a:pt x="86006" y="47486"/>
                    <a:pt x="86006" y="47486"/>
                    <a:pt x="86006" y="47486"/>
                  </a:cubicBezTo>
                  <a:cubicBezTo>
                    <a:pt x="85077" y="47486"/>
                    <a:pt x="85077" y="47486"/>
                    <a:pt x="85077" y="47486"/>
                  </a:cubicBezTo>
                  <a:cubicBezTo>
                    <a:pt x="84891" y="50695"/>
                    <a:pt x="85077" y="53903"/>
                    <a:pt x="84334" y="55187"/>
                  </a:cubicBezTo>
                  <a:cubicBezTo>
                    <a:pt x="83219" y="57112"/>
                    <a:pt x="80990" y="55187"/>
                    <a:pt x="79504" y="55828"/>
                  </a:cubicBezTo>
                  <a:cubicBezTo>
                    <a:pt x="79690" y="48770"/>
                    <a:pt x="79133" y="36577"/>
                    <a:pt x="79876" y="30160"/>
                  </a:cubicBezTo>
                  <a:cubicBezTo>
                    <a:pt x="81919" y="30802"/>
                    <a:pt x="84148" y="28877"/>
                    <a:pt x="85448" y="32085"/>
                  </a:cubicBezTo>
                  <a:cubicBezTo>
                    <a:pt x="86377" y="34010"/>
                    <a:pt x="86191" y="38502"/>
                    <a:pt x="86934" y="41711"/>
                  </a:cubicBezTo>
                  <a:cubicBezTo>
                    <a:pt x="87120" y="42352"/>
                    <a:pt x="87120" y="41711"/>
                    <a:pt x="87492" y="41711"/>
                  </a:cubicBezTo>
                  <a:cubicBezTo>
                    <a:pt x="87492" y="37219"/>
                    <a:pt x="87306" y="30802"/>
                    <a:pt x="87120" y="26310"/>
                  </a:cubicBezTo>
                  <a:cubicBezTo>
                    <a:pt x="73746" y="26310"/>
                    <a:pt x="73746" y="26310"/>
                    <a:pt x="73746" y="26310"/>
                  </a:cubicBezTo>
                  <a:cubicBezTo>
                    <a:pt x="73560" y="26310"/>
                    <a:pt x="73746" y="28235"/>
                    <a:pt x="73746" y="28877"/>
                  </a:cubicBezTo>
                  <a:moveTo>
                    <a:pt x="91950" y="26951"/>
                  </a:moveTo>
                  <a:cubicBezTo>
                    <a:pt x="91950" y="28877"/>
                    <a:pt x="91950" y="28877"/>
                    <a:pt x="91950" y="28877"/>
                  </a:cubicBezTo>
                  <a:cubicBezTo>
                    <a:pt x="92507" y="29518"/>
                    <a:pt x="93622" y="28877"/>
                    <a:pt x="93993" y="30802"/>
                  </a:cubicBezTo>
                  <a:cubicBezTo>
                    <a:pt x="94551" y="33368"/>
                    <a:pt x="94365" y="39786"/>
                    <a:pt x="94365" y="44919"/>
                  </a:cubicBezTo>
                  <a:cubicBezTo>
                    <a:pt x="94365" y="75080"/>
                    <a:pt x="94365" y="75080"/>
                    <a:pt x="94365" y="75080"/>
                  </a:cubicBezTo>
                  <a:cubicBezTo>
                    <a:pt x="94365" y="84064"/>
                    <a:pt x="94551" y="88556"/>
                    <a:pt x="92693" y="89839"/>
                  </a:cubicBezTo>
                  <a:cubicBezTo>
                    <a:pt x="92507" y="90481"/>
                    <a:pt x="91578" y="89197"/>
                    <a:pt x="91764" y="91764"/>
                  </a:cubicBezTo>
                  <a:cubicBezTo>
                    <a:pt x="91764" y="93689"/>
                    <a:pt x="91950" y="93048"/>
                    <a:pt x="92321" y="93048"/>
                  </a:cubicBezTo>
                  <a:cubicBezTo>
                    <a:pt x="94365" y="93689"/>
                    <a:pt x="97151" y="93048"/>
                    <a:pt x="99009" y="93048"/>
                  </a:cubicBezTo>
                  <a:cubicBezTo>
                    <a:pt x="106439" y="93048"/>
                    <a:pt x="111826" y="81497"/>
                    <a:pt x="111640" y="56470"/>
                  </a:cubicBezTo>
                  <a:cubicBezTo>
                    <a:pt x="111640" y="45561"/>
                    <a:pt x="110154" y="37219"/>
                    <a:pt x="108482" y="32727"/>
                  </a:cubicBezTo>
                  <a:cubicBezTo>
                    <a:pt x="104767" y="23743"/>
                    <a:pt x="98452" y="26951"/>
                    <a:pt x="92136" y="26310"/>
                  </a:cubicBezTo>
                  <a:cubicBezTo>
                    <a:pt x="91950" y="26310"/>
                    <a:pt x="91950" y="26310"/>
                    <a:pt x="91950" y="269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7" name="Shape 147"/>
            <p:cNvSpPr/>
            <p:nvPr/>
          </p:nvSpPr>
          <p:spPr>
            <a:xfrm>
              <a:off x="3311" y="1478"/>
              <a:ext cx="135" cy="22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315" y="7422"/>
                  </a:moveTo>
                  <a:cubicBezTo>
                    <a:pt x="80000" y="0"/>
                    <a:pt x="119999" y="22268"/>
                    <a:pt x="119999" y="63092"/>
                  </a:cubicBezTo>
                  <a:cubicBezTo>
                    <a:pt x="119999" y="91546"/>
                    <a:pt x="96842" y="116288"/>
                    <a:pt x="46315" y="120000"/>
                  </a:cubicBezTo>
                  <a:cubicBezTo>
                    <a:pt x="33684" y="120000"/>
                    <a:pt x="18947" y="120000"/>
                    <a:pt x="12631" y="116288"/>
                  </a:cubicBezTo>
                  <a:cubicBezTo>
                    <a:pt x="0" y="110103"/>
                    <a:pt x="4210" y="76701"/>
                    <a:pt x="4210" y="63092"/>
                  </a:cubicBezTo>
                  <a:cubicBezTo>
                    <a:pt x="4210" y="43298"/>
                    <a:pt x="2105" y="24742"/>
                    <a:pt x="6315" y="74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8" name="Shape 148"/>
            <p:cNvSpPr/>
            <p:nvPr/>
          </p:nvSpPr>
          <p:spPr>
            <a:xfrm>
              <a:off x="2914" y="1903"/>
              <a:ext cx="321" cy="50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8529" y="7358"/>
                  </a:moveTo>
                  <a:cubicBezTo>
                    <a:pt x="108529" y="24339"/>
                    <a:pt x="108529" y="24339"/>
                    <a:pt x="108529" y="24339"/>
                  </a:cubicBezTo>
                  <a:cubicBezTo>
                    <a:pt x="91764" y="20377"/>
                    <a:pt x="52058" y="13584"/>
                    <a:pt x="40588" y="24905"/>
                  </a:cubicBezTo>
                  <a:cubicBezTo>
                    <a:pt x="37941" y="27735"/>
                    <a:pt x="37058" y="32264"/>
                    <a:pt x="38823" y="36226"/>
                  </a:cubicBezTo>
                  <a:cubicBezTo>
                    <a:pt x="42352" y="41886"/>
                    <a:pt x="56470" y="45283"/>
                    <a:pt x="66176" y="48113"/>
                  </a:cubicBezTo>
                  <a:cubicBezTo>
                    <a:pt x="87352" y="54339"/>
                    <a:pt x="109411" y="60000"/>
                    <a:pt x="116470" y="75283"/>
                  </a:cubicBezTo>
                  <a:cubicBezTo>
                    <a:pt x="120000" y="82075"/>
                    <a:pt x="119117" y="92264"/>
                    <a:pt x="113823" y="99622"/>
                  </a:cubicBezTo>
                  <a:cubicBezTo>
                    <a:pt x="105882" y="109811"/>
                    <a:pt x="88235" y="116603"/>
                    <a:pt x="67941" y="118301"/>
                  </a:cubicBezTo>
                  <a:cubicBezTo>
                    <a:pt x="45882" y="120000"/>
                    <a:pt x="23823" y="117169"/>
                    <a:pt x="4411" y="113207"/>
                  </a:cubicBezTo>
                  <a:cubicBezTo>
                    <a:pt x="4411" y="96226"/>
                    <a:pt x="4411" y="96226"/>
                    <a:pt x="4411" y="96226"/>
                  </a:cubicBezTo>
                  <a:cubicBezTo>
                    <a:pt x="23823" y="100754"/>
                    <a:pt x="69705" y="107547"/>
                    <a:pt x="79411" y="93962"/>
                  </a:cubicBezTo>
                  <a:cubicBezTo>
                    <a:pt x="82058" y="91132"/>
                    <a:pt x="82941" y="86603"/>
                    <a:pt x="80294" y="82641"/>
                  </a:cubicBezTo>
                  <a:cubicBezTo>
                    <a:pt x="75882" y="75283"/>
                    <a:pt x="56470" y="71320"/>
                    <a:pt x="45000" y="67358"/>
                  </a:cubicBezTo>
                  <a:cubicBezTo>
                    <a:pt x="22941" y="60566"/>
                    <a:pt x="0" y="53207"/>
                    <a:pt x="1764" y="32264"/>
                  </a:cubicBezTo>
                  <a:cubicBezTo>
                    <a:pt x="2647" y="21509"/>
                    <a:pt x="10588" y="15283"/>
                    <a:pt x="21176" y="10188"/>
                  </a:cubicBezTo>
                  <a:cubicBezTo>
                    <a:pt x="41470" y="1132"/>
                    <a:pt x="82941" y="0"/>
                    <a:pt x="108529" y="735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9" name="Shape 149"/>
            <p:cNvSpPr/>
            <p:nvPr/>
          </p:nvSpPr>
          <p:spPr>
            <a:xfrm>
              <a:off x="2074" y="1920"/>
              <a:ext cx="377" cy="47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0"/>
                  </a:moveTo>
                  <a:cubicBezTo>
                    <a:pt x="45000" y="0"/>
                    <a:pt x="45000" y="0"/>
                    <a:pt x="45000" y="0"/>
                  </a:cubicBezTo>
                  <a:cubicBezTo>
                    <a:pt x="60750" y="28800"/>
                    <a:pt x="76500" y="57000"/>
                    <a:pt x="91500" y="86400"/>
                  </a:cubicBezTo>
                  <a:cubicBezTo>
                    <a:pt x="92250" y="58200"/>
                    <a:pt x="92250" y="28800"/>
                    <a:pt x="92250" y="0"/>
                  </a:cubicBezTo>
                  <a:cubicBezTo>
                    <a:pt x="120000" y="0"/>
                    <a:pt x="120000" y="0"/>
                    <a:pt x="120000" y="0"/>
                  </a:cubicBezTo>
                  <a:cubicBezTo>
                    <a:pt x="120000" y="120000"/>
                    <a:pt x="120000" y="120000"/>
                    <a:pt x="120000" y="120000"/>
                  </a:cubicBezTo>
                  <a:cubicBezTo>
                    <a:pt x="80250" y="120000"/>
                    <a:pt x="80250" y="120000"/>
                    <a:pt x="80250" y="120000"/>
                  </a:cubicBezTo>
                  <a:cubicBezTo>
                    <a:pt x="62250" y="89400"/>
                    <a:pt x="45750" y="57000"/>
                    <a:pt x="27750" y="25800"/>
                  </a:cubicBezTo>
                  <a:cubicBezTo>
                    <a:pt x="27750" y="120000"/>
                    <a:pt x="27750" y="120000"/>
                    <a:pt x="27750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600"/>
                    <a:pt x="0" y="600"/>
                    <a:pt x="0" y="60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0" name="Shape 150"/>
            <p:cNvSpPr/>
            <p:nvPr/>
          </p:nvSpPr>
          <p:spPr>
            <a:xfrm>
              <a:off x="2489" y="1920"/>
              <a:ext cx="416" cy="47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2727" y="0"/>
                  </a:moveTo>
                  <a:cubicBezTo>
                    <a:pt x="42954" y="17400"/>
                    <a:pt x="52500" y="34800"/>
                    <a:pt x="62727" y="52800"/>
                  </a:cubicBezTo>
                  <a:cubicBezTo>
                    <a:pt x="72954" y="35400"/>
                    <a:pt x="82500" y="17400"/>
                    <a:pt x="92727" y="0"/>
                  </a:cubicBezTo>
                  <a:cubicBezTo>
                    <a:pt x="120000" y="0"/>
                    <a:pt x="120000" y="0"/>
                    <a:pt x="120000" y="0"/>
                  </a:cubicBezTo>
                  <a:cubicBezTo>
                    <a:pt x="107045" y="21600"/>
                    <a:pt x="93409" y="43200"/>
                    <a:pt x="79772" y="65400"/>
                  </a:cubicBezTo>
                  <a:cubicBezTo>
                    <a:pt x="78409" y="68400"/>
                    <a:pt x="75000" y="72000"/>
                    <a:pt x="74318" y="75000"/>
                  </a:cubicBezTo>
                  <a:cubicBezTo>
                    <a:pt x="73636" y="78000"/>
                    <a:pt x="74318" y="82200"/>
                    <a:pt x="74318" y="86400"/>
                  </a:cubicBezTo>
                  <a:cubicBezTo>
                    <a:pt x="74318" y="120000"/>
                    <a:pt x="74318" y="120000"/>
                    <a:pt x="74318" y="120000"/>
                  </a:cubicBezTo>
                  <a:cubicBezTo>
                    <a:pt x="45000" y="120000"/>
                    <a:pt x="45000" y="120000"/>
                    <a:pt x="45000" y="120000"/>
                  </a:cubicBezTo>
                  <a:cubicBezTo>
                    <a:pt x="45000" y="85800"/>
                    <a:pt x="45000" y="85800"/>
                    <a:pt x="45000" y="85800"/>
                  </a:cubicBezTo>
                  <a:cubicBezTo>
                    <a:pt x="45000" y="82200"/>
                    <a:pt x="45681" y="78000"/>
                    <a:pt x="45000" y="74400"/>
                  </a:cubicBezTo>
                  <a:cubicBezTo>
                    <a:pt x="45000" y="72000"/>
                    <a:pt x="41590" y="67800"/>
                    <a:pt x="39545" y="64800"/>
                  </a:cubicBezTo>
                  <a:cubicBezTo>
                    <a:pt x="26590" y="43800"/>
                    <a:pt x="12954" y="21600"/>
                    <a:pt x="681" y="0"/>
                  </a:cubicBezTo>
                  <a:cubicBezTo>
                    <a:pt x="0" y="0"/>
                    <a:pt x="1363" y="0"/>
                    <a:pt x="1363" y="0"/>
                  </a:cubicBezTo>
                  <a:lnTo>
                    <a:pt x="3272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1" name="Shape 151"/>
            <p:cNvSpPr/>
            <p:nvPr/>
          </p:nvSpPr>
          <p:spPr>
            <a:xfrm>
              <a:off x="3304" y="1918"/>
              <a:ext cx="297" cy="47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52" y="597"/>
                  </a:moveTo>
                  <a:cubicBezTo>
                    <a:pt x="39047" y="597"/>
                    <a:pt x="78095" y="0"/>
                    <a:pt x="116190" y="597"/>
                  </a:cubicBezTo>
                  <a:cubicBezTo>
                    <a:pt x="116190" y="17313"/>
                    <a:pt x="116190" y="17313"/>
                    <a:pt x="116190" y="17313"/>
                  </a:cubicBezTo>
                  <a:cubicBezTo>
                    <a:pt x="91428" y="17910"/>
                    <a:pt x="65714" y="17313"/>
                    <a:pt x="40000" y="17910"/>
                  </a:cubicBezTo>
                  <a:cubicBezTo>
                    <a:pt x="39047" y="27462"/>
                    <a:pt x="40952" y="39402"/>
                    <a:pt x="39047" y="49552"/>
                  </a:cubicBezTo>
                  <a:cubicBezTo>
                    <a:pt x="61904" y="50149"/>
                    <a:pt x="85714" y="49552"/>
                    <a:pt x="109523" y="49552"/>
                  </a:cubicBezTo>
                  <a:cubicBezTo>
                    <a:pt x="109523" y="66865"/>
                    <a:pt x="109523" y="66865"/>
                    <a:pt x="109523" y="66865"/>
                  </a:cubicBezTo>
                  <a:cubicBezTo>
                    <a:pt x="40000" y="66865"/>
                    <a:pt x="40000" y="66865"/>
                    <a:pt x="40000" y="66865"/>
                  </a:cubicBezTo>
                  <a:cubicBezTo>
                    <a:pt x="39047" y="78208"/>
                    <a:pt x="40952" y="91940"/>
                    <a:pt x="39047" y="103283"/>
                  </a:cubicBezTo>
                  <a:cubicBezTo>
                    <a:pt x="119047" y="103283"/>
                    <a:pt x="119047" y="103283"/>
                    <a:pt x="119047" y="103283"/>
                  </a:cubicBezTo>
                  <a:cubicBezTo>
                    <a:pt x="120000" y="108059"/>
                    <a:pt x="119047" y="114626"/>
                    <a:pt x="119047" y="120000"/>
                  </a:cubicBezTo>
                  <a:cubicBezTo>
                    <a:pt x="952" y="120000"/>
                    <a:pt x="952" y="120000"/>
                    <a:pt x="952" y="120000"/>
                  </a:cubicBezTo>
                  <a:cubicBezTo>
                    <a:pt x="952" y="1194"/>
                    <a:pt x="952" y="1194"/>
                    <a:pt x="952" y="1194"/>
                  </a:cubicBezTo>
                  <a:cubicBezTo>
                    <a:pt x="0" y="597"/>
                    <a:pt x="0" y="597"/>
                    <a:pt x="952" y="59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2" name="Shape 152"/>
            <p:cNvSpPr/>
            <p:nvPr/>
          </p:nvSpPr>
          <p:spPr>
            <a:xfrm>
              <a:off x="3606" y="2322"/>
              <a:ext cx="83" cy="8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8000" y="6857"/>
                  </a:moveTo>
                  <a:cubicBezTo>
                    <a:pt x="82285" y="0"/>
                    <a:pt x="109714" y="24000"/>
                    <a:pt x="109714" y="54857"/>
                  </a:cubicBezTo>
                  <a:cubicBezTo>
                    <a:pt x="106285" y="106285"/>
                    <a:pt x="34285" y="120000"/>
                    <a:pt x="13714" y="75428"/>
                  </a:cubicBezTo>
                  <a:cubicBezTo>
                    <a:pt x="0" y="44571"/>
                    <a:pt x="13714" y="13714"/>
                    <a:pt x="48000" y="6857"/>
                  </a:cubicBezTo>
                  <a:moveTo>
                    <a:pt x="20571" y="68571"/>
                  </a:moveTo>
                  <a:cubicBezTo>
                    <a:pt x="37714" y="116571"/>
                    <a:pt x="120000" y="89142"/>
                    <a:pt x="96000" y="34285"/>
                  </a:cubicBezTo>
                  <a:cubicBezTo>
                    <a:pt x="89142" y="20571"/>
                    <a:pt x="72000" y="10285"/>
                    <a:pt x="51428" y="13714"/>
                  </a:cubicBezTo>
                  <a:cubicBezTo>
                    <a:pt x="27428" y="20571"/>
                    <a:pt x="13714" y="44571"/>
                    <a:pt x="20571" y="6857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3" name="Shape 153"/>
            <p:cNvSpPr/>
            <p:nvPr/>
          </p:nvSpPr>
          <p:spPr>
            <a:xfrm>
              <a:off x="3632" y="2338"/>
              <a:ext cx="33" cy="4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571" y="0"/>
                  </a:moveTo>
                  <a:cubicBezTo>
                    <a:pt x="42857" y="0"/>
                    <a:pt x="77142" y="0"/>
                    <a:pt x="102857" y="12631"/>
                  </a:cubicBezTo>
                  <a:cubicBezTo>
                    <a:pt x="119999" y="31578"/>
                    <a:pt x="111428" y="63157"/>
                    <a:pt x="77142" y="63157"/>
                  </a:cubicBezTo>
                  <a:cubicBezTo>
                    <a:pt x="85714" y="75789"/>
                    <a:pt x="102857" y="88421"/>
                    <a:pt x="111428" y="101052"/>
                  </a:cubicBezTo>
                  <a:cubicBezTo>
                    <a:pt x="59999" y="120000"/>
                    <a:pt x="77142" y="56842"/>
                    <a:pt x="34285" y="63157"/>
                  </a:cubicBezTo>
                  <a:cubicBezTo>
                    <a:pt x="25714" y="69473"/>
                    <a:pt x="34285" y="94736"/>
                    <a:pt x="25714" y="107368"/>
                  </a:cubicBezTo>
                  <a:cubicBezTo>
                    <a:pt x="0" y="107368"/>
                    <a:pt x="0" y="107368"/>
                    <a:pt x="0" y="107368"/>
                  </a:cubicBezTo>
                  <a:cubicBezTo>
                    <a:pt x="8571" y="75789"/>
                    <a:pt x="0" y="25263"/>
                    <a:pt x="8571" y="0"/>
                  </a:cubicBezTo>
                  <a:moveTo>
                    <a:pt x="25714" y="50526"/>
                  </a:moveTo>
                  <a:cubicBezTo>
                    <a:pt x="59999" y="50526"/>
                    <a:pt x="94285" y="50526"/>
                    <a:pt x="85714" y="25263"/>
                  </a:cubicBezTo>
                  <a:cubicBezTo>
                    <a:pt x="77142" y="12631"/>
                    <a:pt x="51428" y="12631"/>
                    <a:pt x="25714" y="12631"/>
                  </a:cubicBezTo>
                  <a:lnTo>
                    <a:pt x="25714" y="505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4" name="Shape 154"/>
            <p:cNvSpPr/>
            <p:nvPr/>
          </p:nvSpPr>
          <p:spPr>
            <a:xfrm>
              <a:off x="2099" y="847"/>
              <a:ext cx="303" cy="42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lnTo>
                    <a:pt x="0" y="0"/>
                  </a:lnTo>
                  <a:lnTo>
                    <a:pt x="34851" y="0"/>
                  </a:lnTo>
                  <a:lnTo>
                    <a:pt x="34851" y="99532"/>
                  </a:lnTo>
                  <a:lnTo>
                    <a:pt x="120000" y="99532"/>
                  </a:lnTo>
                  <a:lnTo>
                    <a:pt x="120000" y="120000"/>
                  </a:lnTo>
                  <a:lnTo>
                    <a:pt x="0" y="120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5" name="Shape 155"/>
            <p:cNvSpPr/>
            <p:nvPr/>
          </p:nvSpPr>
          <p:spPr>
            <a:xfrm>
              <a:off x="2444" y="843"/>
              <a:ext cx="399" cy="43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lnTo>
                    <a:pt x="44210" y="56944"/>
                  </a:lnTo>
                  <a:lnTo>
                    <a:pt x="4210" y="0"/>
                  </a:lnTo>
                  <a:lnTo>
                    <a:pt x="34887" y="0"/>
                  </a:lnTo>
                  <a:lnTo>
                    <a:pt x="60451" y="38611"/>
                  </a:lnTo>
                  <a:lnTo>
                    <a:pt x="86015" y="0"/>
                  </a:lnTo>
                  <a:lnTo>
                    <a:pt x="116691" y="0"/>
                  </a:lnTo>
                  <a:lnTo>
                    <a:pt x="76090" y="58333"/>
                  </a:lnTo>
                  <a:lnTo>
                    <a:pt x="119999" y="120000"/>
                  </a:lnTo>
                  <a:lnTo>
                    <a:pt x="88721" y="120000"/>
                  </a:lnTo>
                  <a:lnTo>
                    <a:pt x="60451" y="78611"/>
                  </a:lnTo>
                  <a:lnTo>
                    <a:pt x="31278" y="120000"/>
                  </a:lnTo>
                  <a:lnTo>
                    <a:pt x="0" y="120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6" name="Shape 156"/>
            <p:cNvSpPr/>
            <p:nvPr/>
          </p:nvSpPr>
          <p:spPr>
            <a:xfrm>
              <a:off x="2914" y="843"/>
              <a:ext cx="295" cy="43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lnTo>
                    <a:pt x="0" y="0"/>
                  </a:lnTo>
                  <a:lnTo>
                    <a:pt x="120000" y="0"/>
                  </a:lnTo>
                  <a:lnTo>
                    <a:pt x="120000" y="20277"/>
                  </a:lnTo>
                  <a:lnTo>
                    <a:pt x="35796" y="20277"/>
                  </a:lnTo>
                  <a:lnTo>
                    <a:pt x="35796" y="48333"/>
                  </a:lnTo>
                  <a:lnTo>
                    <a:pt x="108610" y="48333"/>
                  </a:lnTo>
                  <a:lnTo>
                    <a:pt x="108610" y="68888"/>
                  </a:lnTo>
                  <a:lnTo>
                    <a:pt x="35796" y="68888"/>
                  </a:lnTo>
                  <a:lnTo>
                    <a:pt x="35796" y="120000"/>
                  </a:lnTo>
                  <a:lnTo>
                    <a:pt x="0" y="120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7" name="Shape 157"/>
            <p:cNvSpPr/>
            <p:nvPr/>
          </p:nvSpPr>
          <p:spPr>
            <a:xfrm>
              <a:off x="3273" y="843"/>
              <a:ext cx="343" cy="43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4781" y="120000"/>
                  </a:moveTo>
                  <a:lnTo>
                    <a:pt x="44781" y="20277"/>
                  </a:lnTo>
                  <a:lnTo>
                    <a:pt x="0" y="20277"/>
                  </a:lnTo>
                  <a:lnTo>
                    <a:pt x="0" y="0"/>
                  </a:lnTo>
                  <a:lnTo>
                    <a:pt x="120000" y="0"/>
                  </a:lnTo>
                  <a:lnTo>
                    <a:pt x="120000" y="20277"/>
                  </a:lnTo>
                  <a:lnTo>
                    <a:pt x="75218" y="20277"/>
                  </a:lnTo>
                  <a:lnTo>
                    <a:pt x="75218" y="120000"/>
                  </a:lnTo>
                  <a:lnTo>
                    <a:pt x="44781" y="120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58" name="Shape 158"/>
          <p:cNvGrpSpPr/>
          <p:nvPr/>
        </p:nvGrpSpPr>
        <p:grpSpPr>
          <a:xfrm>
            <a:off x="682133" y="4338904"/>
            <a:ext cx="2083131" cy="424502"/>
            <a:chOff x="235" y="1993"/>
            <a:chExt cx="5290" cy="1078"/>
          </a:xfrm>
        </p:grpSpPr>
        <p:sp>
          <p:nvSpPr>
            <p:cNvPr id="159" name="Shape 159"/>
            <p:cNvSpPr/>
            <p:nvPr/>
          </p:nvSpPr>
          <p:spPr>
            <a:xfrm>
              <a:off x="869" y="2262"/>
              <a:ext cx="167" cy="24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1267" y="55841"/>
                  </a:moveTo>
                  <a:cubicBezTo>
                    <a:pt x="111549" y="59405"/>
                    <a:pt x="120000" y="74851"/>
                    <a:pt x="120000" y="81980"/>
                  </a:cubicBezTo>
                  <a:cubicBezTo>
                    <a:pt x="120000" y="109306"/>
                    <a:pt x="89577" y="120000"/>
                    <a:pt x="57464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7464" y="0"/>
                    <a:pt x="57464" y="0"/>
                    <a:pt x="57464" y="0"/>
                  </a:cubicBezTo>
                  <a:cubicBezTo>
                    <a:pt x="86197" y="0"/>
                    <a:pt x="108169" y="9504"/>
                    <a:pt x="111549" y="27326"/>
                  </a:cubicBezTo>
                  <a:cubicBezTo>
                    <a:pt x="114929" y="39207"/>
                    <a:pt x="108169" y="51089"/>
                    <a:pt x="91267" y="55841"/>
                  </a:cubicBezTo>
                  <a:close/>
                  <a:moveTo>
                    <a:pt x="57464" y="46336"/>
                  </a:moveTo>
                  <a:cubicBezTo>
                    <a:pt x="77746" y="46336"/>
                    <a:pt x="77746" y="26138"/>
                    <a:pt x="57464" y="26138"/>
                  </a:cubicBezTo>
                  <a:cubicBezTo>
                    <a:pt x="40563" y="26138"/>
                    <a:pt x="40563" y="26138"/>
                    <a:pt x="40563" y="26138"/>
                  </a:cubicBezTo>
                  <a:cubicBezTo>
                    <a:pt x="40563" y="46336"/>
                    <a:pt x="40563" y="46336"/>
                    <a:pt x="40563" y="46336"/>
                  </a:cubicBezTo>
                  <a:lnTo>
                    <a:pt x="57464" y="46336"/>
                  </a:lnTo>
                  <a:close/>
                  <a:moveTo>
                    <a:pt x="40563" y="67722"/>
                  </a:moveTo>
                  <a:cubicBezTo>
                    <a:pt x="40563" y="92673"/>
                    <a:pt x="40563" y="92673"/>
                    <a:pt x="40563" y="92673"/>
                  </a:cubicBezTo>
                  <a:cubicBezTo>
                    <a:pt x="57464" y="92673"/>
                    <a:pt x="57464" y="92673"/>
                    <a:pt x="57464" y="92673"/>
                  </a:cubicBezTo>
                  <a:cubicBezTo>
                    <a:pt x="84507" y="92673"/>
                    <a:pt x="84507" y="67722"/>
                    <a:pt x="57464" y="67722"/>
                  </a:cubicBezTo>
                  <a:lnTo>
                    <a:pt x="40563" y="677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0" name="Shape 160"/>
            <p:cNvSpPr/>
            <p:nvPr/>
          </p:nvSpPr>
          <p:spPr>
            <a:xfrm>
              <a:off x="1060" y="2262"/>
              <a:ext cx="185" cy="24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120000"/>
                  </a:moveTo>
                  <a:cubicBezTo>
                    <a:pt x="76923" y="120000"/>
                    <a:pt x="76923" y="120000"/>
                    <a:pt x="76923" y="120000"/>
                  </a:cubicBezTo>
                  <a:cubicBezTo>
                    <a:pt x="44615" y="78415"/>
                    <a:pt x="44615" y="78415"/>
                    <a:pt x="44615" y="78415"/>
                  </a:cubicBezTo>
                  <a:cubicBezTo>
                    <a:pt x="40000" y="78415"/>
                    <a:pt x="40000" y="78415"/>
                    <a:pt x="40000" y="78415"/>
                  </a:cubicBezTo>
                  <a:cubicBezTo>
                    <a:pt x="40000" y="120000"/>
                    <a:pt x="40000" y="120000"/>
                    <a:pt x="40000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5384" y="0"/>
                    <a:pt x="55384" y="0"/>
                    <a:pt x="55384" y="0"/>
                  </a:cubicBezTo>
                  <a:cubicBezTo>
                    <a:pt x="76923" y="0"/>
                    <a:pt x="95384" y="5940"/>
                    <a:pt x="104615" y="17821"/>
                  </a:cubicBezTo>
                  <a:cubicBezTo>
                    <a:pt x="110769" y="24950"/>
                    <a:pt x="112307" y="32079"/>
                    <a:pt x="112307" y="39207"/>
                  </a:cubicBezTo>
                  <a:cubicBezTo>
                    <a:pt x="112307" y="53465"/>
                    <a:pt x="101538" y="67722"/>
                    <a:pt x="81538" y="72475"/>
                  </a:cubicBezTo>
                  <a:lnTo>
                    <a:pt x="120000" y="120000"/>
                  </a:lnTo>
                  <a:close/>
                  <a:moveTo>
                    <a:pt x="55384" y="52277"/>
                  </a:moveTo>
                  <a:cubicBezTo>
                    <a:pt x="67692" y="52277"/>
                    <a:pt x="73846" y="46336"/>
                    <a:pt x="73846" y="39207"/>
                  </a:cubicBezTo>
                  <a:cubicBezTo>
                    <a:pt x="73846" y="32079"/>
                    <a:pt x="67692" y="26138"/>
                    <a:pt x="55384" y="26138"/>
                  </a:cubicBezTo>
                  <a:cubicBezTo>
                    <a:pt x="38461" y="26138"/>
                    <a:pt x="38461" y="26138"/>
                    <a:pt x="38461" y="26138"/>
                  </a:cubicBezTo>
                  <a:cubicBezTo>
                    <a:pt x="38461" y="52277"/>
                    <a:pt x="38461" y="52277"/>
                    <a:pt x="38461" y="52277"/>
                  </a:cubicBezTo>
                  <a:lnTo>
                    <a:pt x="55384" y="522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1" name="Shape 161"/>
            <p:cNvSpPr/>
            <p:nvPr/>
          </p:nvSpPr>
          <p:spPr>
            <a:xfrm>
              <a:off x="1261" y="2262"/>
              <a:ext cx="59" cy="24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2" name="Shape 162"/>
            <p:cNvSpPr/>
            <p:nvPr/>
          </p:nvSpPr>
          <p:spPr>
            <a:xfrm>
              <a:off x="1351" y="2257"/>
              <a:ext cx="241" cy="24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1764" y="25384"/>
                  </a:moveTo>
                  <a:cubicBezTo>
                    <a:pt x="90588" y="39230"/>
                    <a:pt x="90588" y="39230"/>
                    <a:pt x="90588" y="39230"/>
                  </a:cubicBezTo>
                  <a:cubicBezTo>
                    <a:pt x="70588" y="15000"/>
                    <a:pt x="30588" y="25384"/>
                    <a:pt x="30588" y="61153"/>
                  </a:cubicBezTo>
                  <a:cubicBezTo>
                    <a:pt x="30588" y="76153"/>
                    <a:pt x="41176" y="94615"/>
                    <a:pt x="61176" y="94615"/>
                  </a:cubicBezTo>
                  <a:cubicBezTo>
                    <a:pt x="72941" y="94615"/>
                    <a:pt x="88235" y="91153"/>
                    <a:pt x="90588" y="75000"/>
                  </a:cubicBezTo>
                  <a:cubicBezTo>
                    <a:pt x="55294" y="75000"/>
                    <a:pt x="55294" y="75000"/>
                    <a:pt x="55294" y="75000"/>
                  </a:cubicBezTo>
                  <a:cubicBezTo>
                    <a:pt x="55294" y="51923"/>
                    <a:pt x="55294" y="51923"/>
                    <a:pt x="55294" y="51923"/>
                  </a:cubicBezTo>
                  <a:cubicBezTo>
                    <a:pt x="118823" y="51923"/>
                    <a:pt x="118823" y="51923"/>
                    <a:pt x="118823" y="51923"/>
                  </a:cubicBezTo>
                  <a:cubicBezTo>
                    <a:pt x="120000" y="57692"/>
                    <a:pt x="120000" y="58846"/>
                    <a:pt x="120000" y="60000"/>
                  </a:cubicBezTo>
                  <a:cubicBezTo>
                    <a:pt x="120000" y="99230"/>
                    <a:pt x="96470" y="120000"/>
                    <a:pt x="61176" y="120000"/>
                  </a:cubicBezTo>
                  <a:cubicBezTo>
                    <a:pt x="21176" y="120000"/>
                    <a:pt x="1176" y="91153"/>
                    <a:pt x="0" y="61153"/>
                  </a:cubicBezTo>
                  <a:cubicBezTo>
                    <a:pt x="0" y="30000"/>
                    <a:pt x="21176" y="0"/>
                    <a:pt x="61176" y="0"/>
                  </a:cubicBezTo>
                  <a:cubicBezTo>
                    <a:pt x="81176" y="0"/>
                    <a:pt x="96470" y="5769"/>
                    <a:pt x="111764" y="253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3" name="Shape 163"/>
            <p:cNvSpPr/>
            <p:nvPr/>
          </p:nvSpPr>
          <p:spPr>
            <a:xfrm>
              <a:off x="1621" y="2262"/>
              <a:ext cx="186" cy="24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1935" y="73692"/>
                  </a:moveTo>
                  <a:lnTo>
                    <a:pt x="39354" y="73692"/>
                  </a:lnTo>
                  <a:lnTo>
                    <a:pt x="39354" y="120000"/>
                  </a:lnTo>
                  <a:lnTo>
                    <a:pt x="0" y="120000"/>
                  </a:lnTo>
                  <a:lnTo>
                    <a:pt x="0" y="0"/>
                  </a:lnTo>
                  <a:lnTo>
                    <a:pt x="39354" y="0"/>
                  </a:lnTo>
                  <a:lnTo>
                    <a:pt x="39354" y="46307"/>
                  </a:lnTo>
                  <a:lnTo>
                    <a:pt x="81935" y="46307"/>
                  </a:lnTo>
                  <a:lnTo>
                    <a:pt x="81935" y="0"/>
                  </a:lnTo>
                  <a:lnTo>
                    <a:pt x="120000" y="0"/>
                  </a:lnTo>
                  <a:lnTo>
                    <a:pt x="120000" y="120000"/>
                  </a:lnTo>
                  <a:lnTo>
                    <a:pt x="81935" y="120000"/>
                  </a:lnTo>
                  <a:lnTo>
                    <a:pt x="81935" y="736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4" name="Shape 164"/>
            <p:cNvSpPr/>
            <p:nvPr/>
          </p:nvSpPr>
          <p:spPr>
            <a:xfrm>
              <a:off x="1829" y="2262"/>
              <a:ext cx="172" cy="24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0"/>
                  </a:moveTo>
                  <a:lnTo>
                    <a:pt x="120000" y="26390"/>
                  </a:lnTo>
                  <a:lnTo>
                    <a:pt x="80930" y="26390"/>
                  </a:lnTo>
                  <a:lnTo>
                    <a:pt x="80930" y="120000"/>
                  </a:lnTo>
                  <a:lnTo>
                    <a:pt x="37674" y="120000"/>
                  </a:lnTo>
                  <a:lnTo>
                    <a:pt x="37674" y="26390"/>
                  </a:lnTo>
                  <a:lnTo>
                    <a:pt x="0" y="26390"/>
                  </a:lnTo>
                  <a:lnTo>
                    <a:pt x="0" y="0"/>
                  </a:lnTo>
                  <a:lnTo>
                    <a:pt x="12000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5" name="Shape 165"/>
            <p:cNvSpPr/>
            <p:nvPr/>
          </p:nvSpPr>
          <p:spPr>
            <a:xfrm>
              <a:off x="2091" y="2262"/>
              <a:ext cx="263" cy="24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3041" y="0"/>
                  </a:moveTo>
                  <a:lnTo>
                    <a:pt x="120000" y="0"/>
                  </a:lnTo>
                  <a:lnTo>
                    <a:pt x="120000" y="120000"/>
                  </a:lnTo>
                  <a:lnTo>
                    <a:pt x="93079" y="120000"/>
                  </a:lnTo>
                  <a:lnTo>
                    <a:pt x="93079" y="68713"/>
                  </a:lnTo>
                  <a:lnTo>
                    <a:pt x="97186" y="36846"/>
                  </a:lnTo>
                  <a:lnTo>
                    <a:pt x="96273" y="36846"/>
                  </a:lnTo>
                  <a:lnTo>
                    <a:pt x="85323" y="68713"/>
                  </a:lnTo>
                  <a:lnTo>
                    <a:pt x="71178" y="102074"/>
                  </a:lnTo>
                  <a:lnTo>
                    <a:pt x="48821" y="102074"/>
                  </a:lnTo>
                  <a:lnTo>
                    <a:pt x="35589" y="68713"/>
                  </a:lnTo>
                  <a:lnTo>
                    <a:pt x="23726" y="36846"/>
                  </a:lnTo>
                  <a:lnTo>
                    <a:pt x="22813" y="36846"/>
                  </a:lnTo>
                  <a:lnTo>
                    <a:pt x="26920" y="68713"/>
                  </a:lnTo>
                  <a:lnTo>
                    <a:pt x="26920" y="120000"/>
                  </a:lnTo>
                  <a:lnTo>
                    <a:pt x="0" y="120000"/>
                  </a:lnTo>
                  <a:lnTo>
                    <a:pt x="0" y="0"/>
                  </a:lnTo>
                  <a:lnTo>
                    <a:pt x="37870" y="0"/>
                  </a:lnTo>
                  <a:lnTo>
                    <a:pt x="60684" y="66224"/>
                  </a:lnTo>
                  <a:lnTo>
                    <a:pt x="8304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6" name="Shape 166"/>
            <p:cNvSpPr/>
            <p:nvPr/>
          </p:nvSpPr>
          <p:spPr>
            <a:xfrm>
              <a:off x="2387" y="2262"/>
              <a:ext cx="59" cy="24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7" name="Shape 167"/>
            <p:cNvSpPr/>
            <p:nvPr/>
          </p:nvSpPr>
          <p:spPr>
            <a:xfrm>
              <a:off x="2479" y="2262"/>
              <a:ext cx="220" cy="24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8363" y="29875"/>
                  </a:moveTo>
                  <a:lnTo>
                    <a:pt x="33818" y="55767"/>
                  </a:lnTo>
                  <a:lnTo>
                    <a:pt x="33818" y="120000"/>
                  </a:lnTo>
                  <a:lnTo>
                    <a:pt x="0" y="120000"/>
                  </a:lnTo>
                  <a:lnTo>
                    <a:pt x="0" y="0"/>
                  </a:lnTo>
                  <a:lnTo>
                    <a:pt x="44181" y="0"/>
                  </a:lnTo>
                  <a:lnTo>
                    <a:pt x="78545" y="65228"/>
                  </a:lnTo>
                  <a:lnTo>
                    <a:pt x="90545" y="93609"/>
                  </a:lnTo>
                  <a:lnTo>
                    <a:pt x="91636" y="93609"/>
                  </a:lnTo>
                  <a:lnTo>
                    <a:pt x="86727" y="64232"/>
                  </a:lnTo>
                  <a:lnTo>
                    <a:pt x="86727" y="0"/>
                  </a:lnTo>
                  <a:lnTo>
                    <a:pt x="120000" y="0"/>
                  </a:lnTo>
                  <a:lnTo>
                    <a:pt x="120000" y="120000"/>
                  </a:lnTo>
                  <a:lnTo>
                    <a:pt x="73636" y="120000"/>
                  </a:lnTo>
                  <a:lnTo>
                    <a:pt x="39818" y="54771"/>
                  </a:lnTo>
                  <a:lnTo>
                    <a:pt x="30000" y="28381"/>
                  </a:lnTo>
                  <a:lnTo>
                    <a:pt x="28363" y="2987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8" name="Shape 168"/>
            <p:cNvSpPr/>
            <p:nvPr/>
          </p:nvSpPr>
          <p:spPr>
            <a:xfrm>
              <a:off x="2737" y="2262"/>
              <a:ext cx="201" cy="24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59405"/>
                  </a:moveTo>
                  <a:cubicBezTo>
                    <a:pt x="120000" y="89108"/>
                    <a:pt x="96000" y="120000"/>
                    <a:pt x="48000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8000" y="0"/>
                    <a:pt x="48000" y="0"/>
                    <a:pt x="48000" y="0"/>
                  </a:cubicBezTo>
                  <a:cubicBezTo>
                    <a:pt x="96000" y="0"/>
                    <a:pt x="120000" y="29702"/>
                    <a:pt x="120000" y="59405"/>
                  </a:cubicBezTo>
                  <a:close/>
                  <a:moveTo>
                    <a:pt x="84705" y="60594"/>
                  </a:moveTo>
                  <a:cubicBezTo>
                    <a:pt x="84705" y="43960"/>
                    <a:pt x="72000" y="26138"/>
                    <a:pt x="48000" y="26138"/>
                  </a:cubicBezTo>
                  <a:cubicBezTo>
                    <a:pt x="35294" y="26138"/>
                    <a:pt x="35294" y="26138"/>
                    <a:pt x="35294" y="26138"/>
                  </a:cubicBezTo>
                  <a:cubicBezTo>
                    <a:pt x="35294" y="93861"/>
                    <a:pt x="35294" y="93861"/>
                    <a:pt x="35294" y="93861"/>
                  </a:cubicBezTo>
                  <a:cubicBezTo>
                    <a:pt x="48000" y="93861"/>
                    <a:pt x="48000" y="93861"/>
                    <a:pt x="48000" y="93861"/>
                  </a:cubicBezTo>
                  <a:cubicBezTo>
                    <a:pt x="72000" y="93861"/>
                    <a:pt x="84705" y="76039"/>
                    <a:pt x="84705" y="6059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9" name="Shape 169"/>
            <p:cNvSpPr/>
            <p:nvPr/>
          </p:nvSpPr>
          <p:spPr>
            <a:xfrm>
              <a:off x="2959" y="2260"/>
              <a:ext cx="170" cy="24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8333" y="81553"/>
                  </a:moveTo>
                  <a:cubicBezTo>
                    <a:pt x="40000" y="93203"/>
                    <a:pt x="53333" y="94368"/>
                    <a:pt x="60000" y="94368"/>
                  </a:cubicBezTo>
                  <a:cubicBezTo>
                    <a:pt x="70000" y="94368"/>
                    <a:pt x="76666" y="89708"/>
                    <a:pt x="76666" y="83883"/>
                  </a:cubicBezTo>
                  <a:cubicBezTo>
                    <a:pt x="76666" y="75728"/>
                    <a:pt x="65000" y="72233"/>
                    <a:pt x="55000" y="69902"/>
                  </a:cubicBezTo>
                  <a:cubicBezTo>
                    <a:pt x="55000" y="69902"/>
                    <a:pt x="55000" y="69902"/>
                    <a:pt x="55000" y="69902"/>
                  </a:cubicBezTo>
                  <a:cubicBezTo>
                    <a:pt x="38333" y="67572"/>
                    <a:pt x="5000" y="59417"/>
                    <a:pt x="5000" y="33786"/>
                  </a:cubicBezTo>
                  <a:cubicBezTo>
                    <a:pt x="5000" y="9320"/>
                    <a:pt x="35000" y="0"/>
                    <a:pt x="61666" y="0"/>
                  </a:cubicBezTo>
                  <a:cubicBezTo>
                    <a:pt x="81666" y="0"/>
                    <a:pt x="101666" y="5825"/>
                    <a:pt x="115000" y="22135"/>
                  </a:cubicBezTo>
                  <a:cubicBezTo>
                    <a:pt x="86666" y="33786"/>
                    <a:pt x="86666" y="33786"/>
                    <a:pt x="86666" y="33786"/>
                  </a:cubicBezTo>
                  <a:cubicBezTo>
                    <a:pt x="80000" y="27961"/>
                    <a:pt x="73333" y="25631"/>
                    <a:pt x="63333" y="25631"/>
                  </a:cubicBezTo>
                  <a:cubicBezTo>
                    <a:pt x="55000" y="25631"/>
                    <a:pt x="46666" y="27961"/>
                    <a:pt x="46666" y="33786"/>
                  </a:cubicBezTo>
                  <a:cubicBezTo>
                    <a:pt x="46666" y="40776"/>
                    <a:pt x="58333" y="43106"/>
                    <a:pt x="66666" y="44271"/>
                  </a:cubicBezTo>
                  <a:cubicBezTo>
                    <a:pt x="91666" y="50097"/>
                    <a:pt x="120000" y="58252"/>
                    <a:pt x="118333" y="86213"/>
                  </a:cubicBezTo>
                  <a:cubicBezTo>
                    <a:pt x="116666" y="109514"/>
                    <a:pt x="86666" y="120000"/>
                    <a:pt x="60000" y="120000"/>
                  </a:cubicBezTo>
                  <a:cubicBezTo>
                    <a:pt x="40000" y="120000"/>
                    <a:pt x="15000" y="115339"/>
                    <a:pt x="0" y="95533"/>
                  </a:cubicBezTo>
                  <a:lnTo>
                    <a:pt x="28333" y="815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0" name="Shape 170"/>
            <p:cNvSpPr/>
            <p:nvPr/>
          </p:nvSpPr>
          <p:spPr>
            <a:xfrm>
              <a:off x="235" y="2560"/>
              <a:ext cx="170" cy="24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6666" y="81553"/>
                  </a:moveTo>
                  <a:cubicBezTo>
                    <a:pt x="40000" y="93203"/>
                    <a:pt x="51666" y="94368"/>
                    <a:pt x="60000" y="94368"/>
                  </a:cubicBezTo>
                  <a:cubicBezTo>
                    <a:pt x="68333" y="94368"/>
                    <a:pt x="75000" y="89708"/>
                    <a:pt x="76666" y="83883"/>
                  </a:cubicBezTo>
                  <a:cubicBezTo>
                    <a:pt x="76666" y="75728"/>
                    <a:pt x="65000" y="72233"/>
                    <a:pt x="55000" y="71067"/>
                  </a:cubicBezTo>
                  <a:cubicBezTo>
                    <a:pt x="55000" y="71067"/>
                    <a:pt x="55000" y="71067"/>
                    <a:pt x="55000" y="71067"/>
                  </a:cubicBezTo>
                  <a:cubicBezTo>
                    <a:pt x="36666" y="67572"/>
                    <a:pt x="3333" y="59417"/>
                    <a:pt x="3333" y="34951"/>
                  </a:cubicBezTo>
                  <a:cubicBezTo>
                    <a:pt x="5000" y="9320"/>
                    <a:pt x="33333" y="0"/>
                    <a:pt x="60000" y="0"/>
                  </a:cubicBezTo>
                  <a:cubicBezTo>
                    <a:pt x="81666" y="0"/>
                    <a:pt x="101666" y="6990"/>
                    <a:pt x="113333" y="22135"/>
                  </a:cubicBezTo>
                  <a:cubicBezTo>
                    <a:pt x="86666" y="33786"/>
                    <a:pt x="86666" y="33786"/>
                    <a:pt x="86666" y="33786"/>
                  </a:cubicBezTo>
                  <a:cubicBezTo>
                    <a:pt x="80000" y="27961"/>
                    <a:pt x="71666" y="25631"/>
                    <a:pt x="61666" y="25631"/>
                  </a:cubicBezTo>
                  <a:cubicBezTo>
                    <a:pt x="53333" y="25631"/>
                    <a:pt x="46666" y="27961"/>
                    <a:pt x="46666" y="34951"/>
                  </a:cubicBezTo>
                  <a:cubicBezTo>
                    <a:pt x="45000" y="40776"/>
                    <a:pt x="56666" y="43106"/>
                    <a:pt x="65000" y="45436"/>
                  </a:cubicBezTo>
                  <a:cubicBezTo>
                    <a:pt x="91666" y="50097"/>
                    <a:pt x="120000" y="58252"/>
                    <a:pt x="118333" y="86213"/>
                  </a:cubicBezTo>
                  <a:cubicBezTo>
                    <a:pt x="116666" y="109514"/>
                    <a:pt x="86666" y="120000"/>
                    <a:pt x="58333" y="120000"/>
                  </a:cubicBezTo>
                  <a:cubicBezTo>
                    <a:pt x="40000" y="120000"/>
                    <a:pt x="15000" y="115339"/>
                    <a:pt x="0" y="95533"/>
                  </a:cubicBezTo>
                  <a:lnTo>
                    <a:pt x="26666" y="815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1" name="Shape 171"/>
            <p:cNvSpPr/>
            <p:nvPr/>
          </p:nvSpPr>
          <p:spPr>
            <a:xfrm>
              <a:off x="429" y="2562"/>
              <a:ext cx="186" cy="24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0645" y="74000"/>
                  </a:moveTo>
                  <a:lnTo>
                    <a:pt x="38064" y="74000"/>
                  </a:lnTo>
                  <a:lnTo>
                    <a:pt x="38064" y="120000"/>
                  </a:lnTo>
                  <a:lnTo>
                    <a:pt x="0" y="120000"/>
                  </a:lnTo>
                  <a:lnTo>
                    <a:pt x="0" y="0"/>
                  </a:lnTo>
                  <a:lnTo>
                    <a:pt x="38064" y="0"/>
                  </a:lnTo>
                  <a:lnTo>
                    <a:pt x="38064" y="46500"/>
                  </a:lnTo>
                  <a:lnTo>
                    <a:pt x="80645" y="46500"/>
                  </a:lnTo>
                  <a:lnTo>
                    <a:pt x="80645" y="0"/>
                  </a:lnTo>
                  <a:lnTo>
                    <a:pt x="120000" y="0"/>
                  </a:lnTo>
                  <a:lnTo>
                    <a:pt x="120000" y="120000"/>
                  </a:lnTo>
                  <a:lnTo>
                    <a:pt x="80645" y="120000"/>
                  </a:lnTo>
                  <a:lnTo>
                    <a:pt x="80645" y="74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2" name="Shape 172"/>
            <p:cNvSpPr/>
            <p:nvPr/>
          </p:nvSpPr>
          <p:spPr>
            <a:xfrm>
              <a:off x="630" y="2562"/>
              <a:ext cx="241" cy="24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8672" y="90500"/>
                  </a:moveTo>
                  <a:lnTo>
                    <a:pt x="40829" y="90500"/>
                  </a:lnTo>
                  <a:lnTo>
                    <a:pt x="31867" y="120000"/>
                  </a:lnTo>
                  <a:lnTo>
                    <a:pt x="0" y="120000"/>
                  </a:lnTo>
                  <a:lnTo>
                    <a:pt x="39834" y="0"/>
                  </a:lnTo>
                  <a:lnTo>
                    <a:pt x="78672" y="0"/>
                  </a:lnTo>
                  <a:lnTo>
                    <a:pt x="120000" y="120000"/>
                  </a:lnTo>
                  <a:lnTo>
                    <a:pt x="88132" y="120000"/>
                  </a:lnTo>
                  <a:lnTo>
                    <a:pt x="78672" y="90500"/>
                  </a:lnTo>
                  <a:close/>
                  <a:moveTo>
                    <a:pt x="58755" y="22500"/>
                  </a:moveTo>
                  <a:lnTo>
                    <a:pt x="56265" y="39500"/>
                  </a:lnTo>
                  <a:lnTo>
                    <a:pt x="48298" y="63000"/>
                  </a:lnTo>
                  <a:lnTo>
                    <a:pt x="70705" y="63000"/>
                  </a:lnTo>
                  <a:lnTo>
                    <a:pt x="63236" y="39500"/>
                  </a:lnTo>
                  <a:lnTo>
                    <a:pt x="59751" y="22500"/>
                  </a:lnTo>
                  <a:lnTo>
                    <a:pt x="58755" y="225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3" name="Shape 173"/>
            <p:cNvSpPr/>
            <p:nvPr/>
          </p:nvSpPr>
          <p:spPr>
            <a:xfrm>
              <a:off x="883" y="2562"/>
              <a:ext cx="184" cy="24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120000"/>
                  </a:moveTo>
                  <a:cubicBezTo>
                    <a:pt x="75384" y="120000"/>
                    <a:pt x="75384" y="120000"/>
                    <a:pt x="75384" y="120000"/>
                  </a:cubicBezTo>
                  <a:cubicBezTo>
                    <a:pt x="44615" y="78415"/>
                    <a:pt x="44615" y="78415"/>
                    <a:pt x="44615" y="78415"/>
                  </a:cubicBezTo>
                  <a:cubicBezTo>
                    <a:pt x="38461" y="78415"/>
                    <a:pt x="38461" y="78415"/>
                    <a:pt x="38461" y="78415"/>
                  </a:cubicBezTo>
                  <a:cubicBezTo>
                    <a:pt x="38461" y="120000"/>
                    <a:pt x="38461" y="120000"/>
                    <a:pt x="38461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3846" y="0"/>
                    <a:pt x="53846" y="0"/>
                    <a:pt x="53846" y="0"/>
                  </a:cubicBezTo>
                  <a:cubicBezTo>
                    <a:pt x="76923" y="0"/>
                    <a:pt x="93846" y="5940"/>
                    <a:pt x="104615" y="17821"/>
                  </a:cubicBezTo>
                  <a:cubicBezTo>
                    <a:pt x="109230" y="24950"/>
                    <a:pt x="110769" y="32079"/>
                    <a:pt x="110769" y="40396"/>
                  </a:cubicBezTo>
                  <a:cubicBezTo>
                    <a:pt x="110769" y="53465"/>
                    <a:pt x="101538" y="67722"/>
                    <a:pt x="81538" y="72475"/>
                  </a:cubicBezTo>
                  <a:lnTo>
                    <a:pt x="120000" y="120000"/>
                  </a:lnTo>
                  <a:close/>
                  <a:moveTo>
                    <a:pt x="53846" y="52277"/>
                  </a:moveTo>
                  <a:cubicBezTo>
                    <a:pt x="66153" y="52277"/>
                    <a:pt x="72307" y="46336"/>
                    <a:pt x="72307" y="39207"/>
                  </a:cubicBezTo>
                  <a:cubicBezTo>
                    <a:pt x="72307" y="33267"/>
                    <a:pt x="66153" y="26138"/>
                    <a:pt x="53846" y="26138"/>
                  </a:cubicBezTo>
                  <a:cubicBezTo>
                    <a:pt x="38461" y="26138"/>
                    <a:pt x="38461" y="26138"/>
                    <a:pt x="38461" y="26138"/>
                  </a:cubicBezTo>
                  <a:cubicBezTo>
                    <a:pt x="38461" y="52277"/>
                    <a:pt x="38461" y="52277"/>
                    <a:pt x="38461" y="52277"/>
                  </a:cubicBezTo>
                  <a:lnTo>
                    <a:pt x="53846" y="522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4" name="Shape 174"/>
            <p:cNvSpPr/>
            <p:nvPr/>
          </p:nvSpPr>
          <p:spPr>
            <a:xfrm>
              <a:off x="1086" y="2562"/>
              <a:ext cx="170" cy="24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1666" y="120000"/>
                  </a:move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6666" y="0"/>
                    <a:pt x="56666" y="0"/>
                    <a:pt x="56666" y="0"/>
                  </a:cubicBezTo>
                  <a:cubicBezTo>
                    <a:pt x="100000" y="0"/>
                    <a:pt x="120000" y="22574"/>
                    <a:pt x="120000" y="43960"/>
                  </a:cubicBezTo>
                  <a:cubicBezTo>
                    <a:pt x="120000" y="65346"/>
                    <a:pt x="98333" y="85544"/>
                    <a:pt x="56666" y="85544"/>
                  </a:cubicBezTo>
                  <a:cubicBezTo>
                    <a:pt x="41666" y="85544"/>
                    <a:pt x="41666" y="85544"/>
                    <a:pt x="41666" y="85544"/>
                  </a:cubicBezTo>
                  <a:lnTo>
                    <a:pt x="41666" y="120000"/>
                  </a:lnTo>
                  <a:close/>
                  <a:moveTo>
                    <a:pt x="78333" y="43960"/>
                  </a:moveTo>
                  <a:cubicBezTo>
                    <a:pt x="78333" y="34455"/>
                    <a:pt x="71666" y="26138"/>
                    <a:pt x="56666" y="26138"/>
                  </a:cubicBezTo>
                  <a:cubicBezTo>
                    <a:pt x="41666" y="26138"/>
                    <a:pt x="41666" y="26138"/>
                    <a:pt x="41666" y="26138"/>
                  </a:cubicBezTo>
                  <a:cubicBezTo>
                    <a:pt x="41666" y="61782"/>
                    <a:pt x="41666" y="61782"/>
                    <a:pt x="41666" y="61782"/>
                  </a:cubicBezTo>
                  <a:cubicBezTo>
                    <a:pt x="56666" y="61782"/>
                    <a:pt x="56666" y="61782"/>
                    <a:pt x="56666" y="61782"/>
                  </a:cubicBezTo>
                  <a:cubicBezTo>
                    <a:pt x="71666" y="61782"/>
                    <a:pt x="78333" y="52277"/>
                    <a:pt x="78333" y="4396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5" name="Shape 175"/>
            <p:cNvSpPr/>
            <p:nvPr/>
          </p:nvSpPr>
          <p:spPr>
            <a:xfrm>
              <a:off x="1346" y="2560"/>
              <a:ext cx="171" cy="24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8333" y="81553"/>
                  </a:moveTo>
                  <a:cubicBezTo>
                    <a:pt x="40000" y="93203"/>
                    <a:pt x="53333" y="94368"/>
                    <a:pt x="60000" y="94368"/>
                  </a:cubicBezTo>
                  <a:cubicBezTo>
                    <a:pt x="70000" y="94368"/>
                    <a:pt x="76666" y="89708"/>
                    <a:pt x="76666" y="83883"/>
                  </a:cubicBezTo>
                  <a:cubicBezTo>
                    <a:pt x="76666" y="75728"/>
                    <a:pt x="65000" y="72233"/>
                    <a:pt x="55000" y="71067"/>
                  </a:cubicBezTo>
                  <a:cubicBezTo>
                    <a:pt x="55000" y="71067"/>
                    <a:pt x="55000" y="71067"/>
                    <a:pt x="55000" y="71067"/>
                  </a:cubicBezTo>
                  <a:cubicBezTo>
                    <a:pt x="38333" y="67572"/>
                    <a:pt x="5000" y="59417"/>
                    <a:pt x="5000" y="34951"/>
                  </a:cubicBezTo>
                  <a:cubicBezTo>
                    <a:pt x="5000" y="9320"/>
                    <a:pt x="35000" y="0"/>
                    <a:pt x="61666" y="0"/>
                  </a:cubicBezTo>
                  <a:cubicBezTo>
                    <a:pt x="81666" y="0"/>
                    <a:pt x="101666" y="6990"/>
                    <a:pt x="115000" y="22135"/>
                  </a:cubicBezTo>
                  <a:cubicBezTo>
                    <a:pt x="86666" y="33786"/>
                    <a:pt x="86666" y="33786"/>
                    <a:pt x="86666" y="33786"/>
                  </a:cubicBezTo>
                  <a:cubicBezTo>
                    <a:pt x="80000" y="27961"/>
                    <a:pt x="73333" y="25631"/>
                    <a:pt x="63333" y="25631"/>
                  </a:cubicBezTo>
                  <a:cubicBezTo>
                    <a:pt x="55000" y="25631"/>
                    <a:pt x="46666" y="27961"/>
                    <a:pt x="46666" y="34951"/>
                  </a:cubicBezTo>
                  <a:cubicBezTo>
                    <a:pt x="46666" y="40776"/>
                    <a:pt x="58333" y="43106"/>
                    <a:pt x="66666" y="45436"/>
                  </a:cubicBezTo>
                  <a:cubicBezTo>
                    <a:pt x="91666" y="50097"/>
                    <a:pt x="120000" y="58252"/>
                    <a:pt x="118333" y="86213"/>
                  </a:cubicBezTo>
                  <a:cubicBezTo>
                    <a:pt x="116666" y="109514"/>
                    <a:pt x="86666" y="120000"/>
                    <a:pt x="60000" y="120000"/>
                  </a:cubicBezTo>
                  <a:cubicBezTo>
                    <a:pt x="41666" y="120000"/>
                    <a:pt x="15000" y="115339"/>
                    <a:pt x="0" y="95533"/>
                  </a:cubicBezTo>
                  <a:lnTo>
                    <a:pt x="28333" y="815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6" name="Shape 176"/>
            <p:cNvSpPr/>
            <p:nvPr/>
          </p:nvSpPr>
          <p:spPr>
            <a:xfrm>
              <a:off x="1533" y="2560"/>
              <a:ext cx="246" cy="24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60000"/>
                  </a:moveTo>
                  <a:cubicBezTo>
                    <a:pt x="120000" y="95769"/>
                    <a:pt x="93461" y="120000"/>
                    <a:pt x="60000" y="120000"/>
                  </a:cubicBezTo>
                  <a:cubicBezTo>
                    <a:pt x="27692" y="120000"/>
                    <a:pt x="0" y="95769"/>
                    <a:pt x="0" y="60000"/>
                  </a:cubicBezTo>
                  <a:cubicBezTo>
                    <a:pt x="0" y="23076"/>
                    <a:pt x="27692" y="0"/>
                    <a:pt x="60000" y="0"/>
                  </a:cubicBezTo>
                  <a:cubicBezTo>
                    <a:pt x="93461" y="0"/>
                    <a:pt x="120000" y="23076"/>
                    <a:pt x="120000" y="60000"/>
                  </a:cubicBezTo>
                  <a:close/>
                  <a:moveTo>
                    <a:pt x="60000" y="92307"/>
                  </a:moveTo>
                  <a:cubicBezTo>
                    <a:pt x="75000" y="92307"/>
                    <a:pt x="90000" y="84230"/>
                    <a:pt x="90000" y="60000"/>
                  </a:cubicBezTo>
                  <a:cubicBezTo>
                    <a:pt x="90000" y="35769"/>
                    <a:pt x="75000" y="26538"/>
                    <a:pt x="60000" y="26538"/>
                  </a:cubicBezTo>
                  <a:cubicBezTo>
                    <a:pt x="45000" y="26538"/>
                    <a:pt x="30000" y="36923"/>
                    <a:pt x="30000" y="60000"/>
                  </a:cubicBezTo>
                  <a:cubicBezTo>
                    <a:pt x="30000" y="81923"/>
                    <a:pt x="45000" y="92307"/>
                    <a:pt x="60000" y="92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7" name="Shape 177"/>
            <p:cNvSpPr/>
            <p:nvPr/>
          </p:nvSpPr>
          <p:spPr>
            <a:xfrm>
              <a:off x="1803" y="2562"/>
              <a:ext cx="139" cy="24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120000"/>
                  </a:moveTo>
                  <a:lnTo>
                    <a:pt x="0" y="120000"/>
                  </a:lnTo>
                  <a:lnTo>
                    <a:pt x="0" y="0"/>
                  </a:lnTo>
                  <a:lnTo>
                    <a:pt x="50935" y="0"/>
                  </a:lnTo>
                  <a:lnTo>
                    <a:pt x="50935" y="93000"/>
                  </a:lnTo>
                  <a:lnTo>
                    <a:pt x="120000" y="93000"/>
                  </a:lnTo>
                  <a:lnTo>
                    <a:pt x="120000" y="120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8" name="Shape 178"/>
            <p:cNvSpPr/>
            <p:nvPr/>
          </p:nvSpPr>
          <p:spPr>
            <a:xfrm>
              <a:off x="1964" y="2562"/>
              <a:ext cx="182" cy="24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0519" y="0"/>
                  </a:moveTo>
                  <a:cubicBezTo>
                    <a:pt x="40519" y="80000"/>
                    <a:pt x="40519" y="80000"/>
                    <a:pt x="40519" y="80000"/>
                  </a:cubicBezTo>
                  <a:cubicBezTo>
                    <a:pt x="40519" y="89411"/>
                    <a:pt x="49870" y="94117"/>
                    <a:pt x="59220" y="94117"/>
                  </a:cubicBezTo>
                  <a:cubicBezTo>
                    <a:pt x="70129" y="94117"/>
                    <a:pt x="79480" y="89411"/>
                    <a:pt x="79480" y="80000"/>
                  </a:cubicBezTo>
                  <a:cubicBezTo>
                    <a:pt x="79480" y="0"/>
                    <a:pt x="79480" y="0"/>
                    <a:pt x="79480" y="0"/>
                  </a:cubicBezTo>
                  <a:cubicBezTo>
                    <a:pt x="120000" y="0"/>
                    <a:pt x="120000" y="0"/>
                    <a:pt x="120000" y="0"/>
                  </a:cubicBezTo>
                  <a:cubicBezTo>
                    <a:pt x="120000" y="80000"/>
                    <a:pt x="120000" y="80000"/>
                    <a:pt x="120000" y="80000"/>
                  </a:cubicBezTo>
                  <a:cubicBezTo>
                    <a:pt x="120000" y="107058"/>
                    <a:pt x="88831" y="120000"/>
                    <a:pt x="59220" y="120000"/>
                  </a:cubicBezTo>
                  <a:cubicBezTo>
                    <a:pt x="29610" y="120000"/>
                    <a:pt x="0" y="107058"/>
                    <a:pt x="0" y="8000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05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9" name="Shape 179"/>
            <p:cNvSpPr/>
            <p:nvPr/>
          </p:nvSpPr>
          <p:spPr>
            <a:xfrm>
              <a:off x="2160" y="2562"/>
              <a:ext cx="172" cy="24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0"/>
                  </a:moveTo>
                  <a:lnTo>
                    <a:pt x="120000" y="26000"/>
                  </a:lnTo>
                  <a:lnTo>
                    <a:pt x="80930" y="26000"/>
                  </a:lnTo>
                  <a:lnTo>
                    <a:pt x="80930" y="120000"/>
                  </a:lnTo>
                  <a:lnTo>
                    <a:pt x="39767" y="120000"/>
                  </a:lnTo>
                  <a:lnTo>
                    <a:pt x="39767" y="26000"/>
                  </a:lnTo>
                  <a:lnTo>
                    <a:pt x="0" y="26000"/>
                  </a:lnTo>
                  <a:lnTo>
                    <a:pt x="0" y="0"/>
                  </a:lnTo>
                  <a:lnTo>
                    <a:pt x="12000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0" name="Shape 180"/>
            <p:cNvSpPr/>
            <p:nvPr/>
          </p:nvSpPr>
          <p:spPr>
            <a:xfrm>
              <a:off x="2349" y="2562"/>
              <a:ext cx="62" cy="24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1" name="Shape 181"/>
            <p:cNvSpPr/>
            <p:nvPr/>
          </p:nvSpPr>
          <p:spPr>
            <a:xfrm>
              <a:off x="2439" y="2560"/>
              <a:ext cx="248" cy="24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60000"/>
                  </a:moveTo>
                  <a:cubicBezTo>
                    <a:pt x="120000" y="95769"/>
                    <a:pt x="92571" y="120000"/>
                    <a:pt x="60571" y="120000"/>
                  </a:cubicBezTo>
                  <a:cubicBezTo>
                    <a:pt x="27428" y="120000"/>
                    <a:pt x="0" y="95769"/>
                    <a:pt x="0" y="60000"/>
                  </a:cubicBezTo>
                  <a:cubicBezTo>
                    <a:pt x="0" y="23076"/>
                    <a:pt x="27428" y="0"/>
                    <a:pt x="60571" y="0"/>
                  </a:cubicBezTo>
                  <a:cubicBezTo>
                    <a:pt x="92571" y="0"/>
                    <a:pt x="120000" y="23076"/>
                    <a:pt x="120000" y="60000"/>
                  </a:cubicBezTo>
                  <a:close/>
                  <a:moveTo>
                    <a:pt x="60571" y="92307"/>
                  </a:moveTo>
                  <a:cubicBezTo>
                    <a:pt x="74285" y="92307"/>
                    <a:pt x="90285" y="84230"/>
                    <a:pt x="90285" y="60000"/>
                  </a:cubicBezTo>
                  <a:cubicBezTo>
                    <a:pt x="90285" y="35769"/>
                    <a:pt x="74285" y="26538"/>
                    <a:pt x="59428" y="26538"/>
                  </a:cubicBezTo>
                  <a:cubicBezTo>
                    <a:pt x="44571" y="26538"/>
                    <a:pt x="29714" y="36923"/>
                    <a:pt x="29714" y="60000"/>
                  </a:cubicBezTo>
                  <a:cubicBezTo>
                    <a:pt x="29714" y="81923"/>
                    <a:pt x="45714" y="92307"/>
                    <a:pt x="60571" y="92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2" name="Shape 182"/>
            <p:cNvSpPr/>
            <p:nvPr/>
          </p:nvSpPr>
          <p:spPr>
            <a:xfrm>
              <a:off x="2713" y="2562"/>
              <a:ext cx="218" cy="24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7522" y="30000"/>
                  </a:moveTo>
                  <a:lnTo>
                    <a:pt x="32477" y="56000"/>
                  </a:lnTo>
                  <a:lnTo>
                    <a:pt x="32477" y="120000"/>
                  </a:lnTo>
                  <a:lnTo>
                    <a:pt x="0" y="120000"/>
                  </a:lnTo>
                  <a:lnTo>
                    <a:pt x="0" y="0"/>
                  </a:lnTo>
                  <a:lnTo>
                    <a:pt x="44587" y="0"/>
                  </a:lnTo>
                  <a:lnTo>
                    <a:pt x="78165" y="65500"/>
                  </a:lnTo>
                  <a:lnTo>
                    <a:pt x="89724" y="94000"/>
                  </a:lnTo>
                  <a:lnTo>
                    <a:pt x="91376" y="94000"/>
                  </a:lnTo>
                  <a:lnTo>
                    <a:pt x="87522" y="64500"/>
                  </a:lnTo>
                  <a:lnTo>
                    <a:pt x="87522" y="0"/>
                  </a:lnTo>
                  <a:lnTo>
                    <a:pt x="120000" y="0"/>
                  </a:lnTo>
                  <a:lnTo>
                    <a:pt x="120000" y="120000"/>
                  </a:lnTo>
                  <a:lnTo>
                    <a:pt x="73211" y="120000"/>
                  </a:lnTo>
                  <a:lnTo>
                    <a:pt x="39082" y="55000"/>
                  </a:lnTo>
                  <a:lnTo>
                    <a:pt x="28623" y="28500"/>
                  </a:lnTo>
                  <a:lnTo>
                    <a:pt x="27522" y="30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3" name="Shape 183"/>
            <p:cNvSpPr/>
            <p:nvPr/>
          </p:nvSpPr>
          <p:spPr>
            <a:xfrm>
              <a:off x="2959" y="2560"/>
              <a:ext cx="170" cy="24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8333" y="81553"/>
                  </a:moveTo>
                  <a:cubicBezTo>
                    <a:pt x="40000" y="93203"/>
                    <a:pt x="53333" y="94368"/>
                    <a:pt x="60000" y="94368"/>
                  </a:cubicBezTo>
                  <a:cubicBezTo>
                    <a:pt x="70000" y="94368"/>
                    <a:pt x="76666" y="89708"/>
                    <a:pt x="76666" y="83883"/>
                  </a:cubicBezTo>
                  <a:cubicBezTo>
                    <a:pt x="76666" y="75728"/>
                    <a:pt x="65000" y="72233"/>
                    <a:pt x="55000" y="71067"/>
                  </a:cubicBezTo>
                  <a:cubicBezTo>
                    <a:pt x="55000" y="71067"/>
                    <a:pt x="55000" y="71067"/>
                    <a:pt x="55000" y="71067"/>
                  </a:cubicBezTo>
                  <a:cubicBezTo>
                    <a:pt x="38333" y="67572"/>
                    <a:pt x="5000" y="59417"/>
                    <a:pt x="5000" y="34951"/>
                  </a:cubicBezTo>
                  <a:cubicBezTo>
                    <a:pt x="5000" y="9320"/>
                    <a:pt x="35000" y="0"/>
                    <a:pt x="61666" y="0"/>
                  </a:cubicBezTo>
                  <a:cubicBezTo>
                    <a:pt x="81666" y="0"/>
                    <a:pt x="101666" y="6990"/>
                    <a:pt x="115000" y="22135"/>
                  </a:cubicBezTo>
                  <a:cubicBezTo>
                    <a:pt x="86666" y="33786"/>
                    <a:pt x="86666" y="33786"/>
                    <a:pt x="86666" y="33786"/>
                  </a:cubicBezTo>
                  <a:cubicBezTo>
                    <a:pt x="80000" y="27961"/>
                    <a:pt x="73333" y="25631"/>
                    <a:pt x="63333" y="25631"/>
                  </a:cubicBezTo>
                  <a:cubicBezTo>
                    <a:pt x="55000" y="25631"/>
                    <a:pt x="46666" y="27961"/>
                    <a:pt x="46666" y="34951"/>
                  </a:cubicBezTo>
                  <a:cubicBezTo>
                    <a:pt x="46666" y="40776"/>
                    <a:pt x="58333" y="43106"/>
                    <a:pt x="66666" y="45436"/>
                  </a:cubicBezTo>
                  <a:cubicBezTo>
                    <a:pt x="91666" y="50097"/>
                    <a:pt x="120000" y="58252"/>
                    <a:pt x="118333" y="86213"/>
                  </a:cubicBezTo>
                  <a:cubicBezTo>
                    <a:pt x="116666" y="109514"/>
                    <a:pt x="86666" y="120000"/>
                    <a:pt x="60000" y="120000"/>
                  </a:cubicBezTo>
                  <a:cubicBezTo>
                    <a:pt x="40000" y="120000"/>
                    <a:pt x="15000" y="115339"/>
                    <a:pt x="0" y="95533"/>
                  </a:cubicBezTo>
                  <a:lnTo>
                    <a:pt x="28333" y="815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4" name="Shape 184"/>
            <p:cNvSpPr/>
            <p:nvPr/>
          </p:nvSpPr>
          <p:spPr>
            <a:xfrm>
              <a:off x="3279" y="1993"/>
              <a:ext cx="73" cy="269"/>
            </a:xfrm>
            <a:prstGeom prst="rect">
              <a:avLst/>
            </a:prstGeom>
            <a:solidFill>
              <a:srgbClr val="043B7B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5" name="Shape 185"/>
            <p:cNvSpPr/>
            <p:nvPr/>
          </p:nvSpPr>
          <p:spPr>
            <a:xfrm>
              <a:off x="3279" y="2262"/>
              <a:ext cx="74" cy="269"/>
            </a:xfrm>
            <a:prstGeom prst="rect">
              <a:avLst/>
            </a:prstGeom>
            <a:solidFill>
              <a:srgbClr val="C01953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6" name="Shape 186"/>
            <p:cNvSpPr/>
            <p:nvPr/>
          </p:nvSpPr>
          <p:spPr>
            <a:xfrm>
              <a:off x="3279" y="2531"/>
              <a:ext cx="73" cy="271"/>
            </a:xfrm>
            <a:prstGeom prst="rect">
              <a:avLst/>
            </a:prstGeom>
            <a:solidFill>
              <a:srgbClr val="E35A10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7" name="Shape 187"/>
            <p:cNvSpPr/>
            <p:nvPr/>
          </p:nvSpPr>
          <p:spPr>
            <a:xfrm>
              <a:off x="3279" y="2802"/>
              <a:ext cx="73" cy="269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8" name="Shape 188"/>
            <p:cNvSpPr/>
            <p:nvPr/>
          </p:nvSpPr>
          <p:spPr>
            <a:xfrm>
              <a:off x="3811" y="2386"/>
              <a:ext cx="198" cy="29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99" y="120000"/>
                  </a:moveTo>
                  <a:lnTo>
                    <a:pt x="0" y="120000"/>
                  </a:lnTo>
                  <a:lnTo>
                    <a:pt x="0" y="0"/>
                  </a:lnTo>
                  <a:lnTo>
                    <a:pt x="44242" y="0"/>
                  </a:lnTo>
                  <a:lnTo>
                    <a:pt x="44242" y="92559"/>
                  </a:lnTo>
                  <a:lnTo>
                    <a:pt x="119999" y="92559"/>
                  </a:lnTo>
                  <a:lnTo>
                    <a:pt x="119999" y="120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9" name="Shape 189"/>
            <p:cNvSpPr/>
            <p:nvPr/>
          </p:nvSpPr>
          <p:spPr>
            <a:xfrm>
              <a:off x="4047" y="2386"/>
              <a:ext cx="253" cy="29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5887" y="0"/>
                  </a:moveTo>
                  <a:cubicBezTo>
                    <a:pt x="35887" y="73920"/>
                    <a:pt x="35887" y="73920"/>
                    <a:pt x="35887" y="73920"/>
                  </a:cubicBezTo>
                  <a:cubicBezTo>
                    <a:pt x="35887" y="83520"/>
                    <a:pt x="45981" y="94080"/>
                    <a:pt x="60560" y="94080"/>
                  </a:cubicBezTo>
                  <a:cubicBezTo>
                    <a:pt x="72897" y="94080"/>
                    <a:pt x="84112" y="83520"/>
                    <a:pt x="84112" y="73920"/>
                  </a:cubicBezTo>
                  <a:cubicBezTo>
                    <a:pt x="84112" y="0"/>
                    <a:pt x="84112" y="0"/>
                    <a:pt x="84112" y="0"/>
                  </a:cubicBezTo>
                  <a:cubicBezTo>
                    <a:pt x="120000" y="0"/>
                    <a:pt x="120000" y="0"/>
                    <a:pt x="120000" y="0"/>
                  </a:cubicBezTo>
                  <a:cubicBezTo>
                    <a:pt x="120000" y="73920"/>
                    <a:pt x="120000" y="73920"/>
                    <a:pt x="120000" y="73920"/>
                  </a:cubicBezTo>
                  <a:cubicBezTo>
                    <a:pt x="120000" y="103680"/>
                    <a:pt x="86355" y="120000"/>
                    <a:pt x="59439" y="120000"/>
                  </a:cubicBezTo>
                  <a:cubicBezTo>
                    <a:pt x="33644" y="120000"/>
                    <a:pt x="0" y="104640"/>
                    <a:pt x="0" y="7392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3588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0" name="Shape 190"/>
            <p:cNvSpPr/>
            <p:nvPr/>
          </p:nvSpPr>
          <p:spPr>
            <a:xfrm>
              <a:off x="4681" y="2381"/>
              <a:ext cx="303" cy="30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60472"/>
                  </a:moveTo>
                  <a:cubicBezTo>
                    <a:pt x="120000" y="96377"/>
                    <a:pt x="92812" y="120000"/>
                    <a:pt x="60000" y="120000"/>
                  </a:cubicBezTo>
                  <a:cubicBezTo>
                    <a:pt x="28125" y="120000"/>
                    <a:pt x="0" y="97322"/>
                    <a:pt x="0" y="60472"/>
                  </a:cubicBezTo>
                  <a:cubicBezTo>
                    <a:pt x="0" y="23622"/>
                    <a:pt x="28125" y="0"/>
                    <a:pt x="60000" y="0"/>
                  </a:cubicBezTo>
                  <a:cubicBezTo>
                    <a:pt x="92812" y="0"/>
                    <a:pt x="120000" y="23622"/>
                    <a:pt x="120000" y="60472"/>
                  </a:cubicBezTo>
                  <a:close/>
                  <a:moveTo>
                    <a:pt x="60000" y="94488"/>
                  </a:moveTo>
                  <a:cubicBezTo>
                    <a:pt x="75937" y="94488"/>
                    <a:pt x="90937" y="85984"/>
                    <a:pt x="90937" y="60472"/>
                  </a:cubicBezTo>
                  <a:cubicBezTo>
                    <a:pt x="90937" y="34960"/>
                    <a:pt x="75000" y="25511"/>
                    <a:pt x="60000" y="25511"/>
                  </a:cubicBezTo>
                  <a:cubicBezTo>
                    <a:pt x="44062" y="25511"/>
                    <a:pt x="29062" y="36850"/>
                    <a:pt x="29062" y="60472"/>
                  </a:cubicBezTo>
                  <a:cubicBezTo>
                    <a:pt x="29062" y="83149"/>
                    <a:pt x="45000" y="94488"/>
                    <a:pt x="60000" y="9448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1" name="Shape 191"/>
            <p:cNvSpPr/>
            <p:nvPr/>
          </p:nvSpPr>
          <p:spPr>
            <a:xfrm>
              <a:off x="5036" y="2386"/>
              <a:ext cx="194" cy="29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26211"/>
                  </a:moveTo>
                  <a:lnTo>
                    <a:pt x="45154" y="26211"/>
                  </a:lnTo>
                  <a:lnTo>
                    <a:pt x="45154" y="48737"/>
                  </a:lnTo>
                  <a:lnTo>
                    <a:pt x="118144" y="48737"/>
                  </a:lnTo>
                  <a:lnTo>
                    <a:pt x="118144" y="74948"/>
                  </a:lnTo>
                  <a:lnTo>
                    <a:pt x="45154" y="74948"/>
                  </a:lnTo>
                  <a:lnTo>
                    <a:pt x="45154" y="120000"/>
                  </a:lnTo>
                  <a:lnTo>
                    <a:pt x="0" y="120000"/>
                  </a:lnTo>
                  <a:lnTo>
                    <a:pt x="0" y="0"/>
                  </a:lnTo>
                  <a:lnTo>
                    <a:pt x="120000" y="0"/>
                  </a:lnTo>
                  <a:lnTo>
                    <a:pt x="120000" y="262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2" name="Shape 192"/>
            <p:cNvSpPr/>
            <p:nvPr/>
          </p:nvSpPr>
          <p:spPr>
            <a:xfrm>
              <a:off x="5286" y="2386"/>
              <a:ext cx="239" cy="29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0"/>
                  </a:moveTo>
                  <a:lnTo>
                    <a:pt x="120000" y="26211"/>
                  </a:lnTo>
                  <a:lnTo>
                    <a:pt x="78326" y="26211"/>
                  </a:lnTo>
                  <a:lnTo>
                    <a:pt x="78326" y="120000"/>
                  </a:lnTo>
                  <a:lnTo>
                    <a:pt x="40669" y="120000"/>
                  </a:lnTo>
                  <a:lnTo>
                    <a:pt x="40669" y="26211"/>
                  </a:lnTo>
                  <a:lnTo>
                    <a:pt x="0" y="26211"/>
                  </a:lnTo>
                  <a:lnTo>
                    <a:pt x="0" y="0"/>
                  </a:lnTo>
                  <a:lnTo>
                    <a:pt x="12000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3" name="Shape 193"/>
            <p:cNvSpPr/>
            <p:nvPr/>
          </p:nvSpPr>
          <p:spPr>
            <a:xfrm>
              <a:off x="3889" y="1993"/>
              <a:ext cx="293" cy="24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lnTo>
                    <a:pt x="59795" y="46307"/>
                  </a:lnTo>
                  <a:lnTo>
                    <a:pt x="120000" y="120000"/>
                  </a:lnTo>
                  <a:lnTo>
                    <a:pt x="120000" y="72697"/>
                  </a:lnTo>
                  <a:lnTo>
                    <a:pt x="59795" y="0"/>
                  </a:lnTo>
                  <a:lnTo>
                    <a:pt x="0" y="73692"/>
                  </a:lnTo>
                  <a:lnTo>
                    <a:pt x="0" y="120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4" name="Shape 194"/>
            <p:cNvSpPr/>
            <p:nvPr/>
          </p:nvSpPr>
          <p:spPr>
            <a:xfrm>
              <a:off x="3498" y="2384"/>
              <a:ext cx="242" cy="29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8512" y="120000"/>
                  </a:moveTo>
                  <a:lnTo>
                    <a:pt x="47107" y="59796"/>
                  </a:lnTo>
                  <a:lnTo>
                    <a:pt x="120000" y="0"/>
                  </a:lnTo>
                  <a:lnTo>
                    <a:pt x="72892" y="0"/>
                  </a:lnTo>
                  <a:lnTo>
                    <a:pt x="0" y="59796"/>
                  </a:lnTo>
                  <a:lnTo>
                    <a:pt x="72892" y="120000"/>
                  </a:lnTo>
                  <a:lnTo>
                    <a:pt x="118512" y="120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5" name="Shape 195"/>
            <p:cNvSpPr/>
            <p:nvPr/>
          </p:nvSpPr>
          <p:spPr>
            <a:xfrm>
              <a:off x="3889" y="2831"/>
              <a:ext cx="293" cy="24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0"/>
                  </a:moveTo>
                  <a:lnTo>
                    <a:pt x="59795" y="73500"/>
                  </a:lnTo>
                  <a:lnTo>
                    <a:pt x="0" y="0"/>
                  </a:lnTo>
                  <a:lnTo>
                    <a:pt x="0" y="46500"/>
                  </a:lnTo>
                  <a:lnTo>
                    <a:pt x="59795" y="120000"/>
                  </a:lnTo>
                  <a:lnTo>
                    <a:pt x="120000" y="47500"/>
                  </a:lnTo>
                  <a:lnTo>
                    <a:pt x="12000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6" name="Shape 196"/>
            <p:cNvSpPr/>
            <p:nvPr/>
          </p:nvSpPr>
          <p:spPr>
            <a:xfrm>
              <a:off x="4532" y="2384"/>
              <a:ext cx="151" cy="10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5761" y="120000"/>
                  </a:moveTo>
                  <a:lnTo>
                    <a:pt x="120000" y="0"/>
                  </a:lnTo>
                  <a:lnTo>
                    <a:pt x="46887" y="0"/>
                  </a:lnTo>
                  <a:lnTo>
                    <a:pt x="0" y="68411"/>
                  </a:lnTo>
                  <a:lnTo>
                    <a:pt x="35761" y="120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7" name="Shape 197"/>
            <p:cNvSpPr/>
            <p:nvPr/>
          </p:nvSpPr>
          <p:spPr>
            <a:xfrm>
              <a:off x="4532" y="2574"/>
              <a:ext cx="151" cy="10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51428"/>
                  </a:moveTo>
                  <a:lnTo>
                    <a:pt x="46887" y="120000"/>
                  </a:lnTo>
                  <a:lnTo>
                    <a:pt x="120000" y="120000"/>
                  </a:lnTo>
                  <a:lnTo>
                    <a:pt x="35761" y="0"/>
                  </a:lnTo>
                  <a:lnTo>
                    <a:pt x="0" y="514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8" name="Shape 198"/>
            <p:cNvSpPr/>
            <p:nvPr/>
          </p:nvSpPr>
          <p:spPr>
            <a:xfrm>
              <a:off x="4333" y="2386"/>
              <a:ext cx="239" cy="29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0"/>
                  </a:moveTo>
                  <a:lnTo>
                    <a:pt x="72803" y="59385"/>
                  </a:lnTo>
                  <a:lnTo>
                    <a:pt x="0" y="120000"/>
                  </a:lnTo>
                  <a:lnTo>
                    <a:pt x="46694" y="120000"/>
                  </a:lnTo>
                  <a:lnTo>
                    <a:pt x="120000" y="59385"/>
                  </a:lnTo>
                  <a:lnTo>
                    <a:pt x="4669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99" name="Shape 199"/>
          <p:cNvSpPr txBox="1">
            <a:spLocks noGrp="1"/>
          </p:cNvSpPr>
          <p:nvPr>
            <p:ph type="title"/>
          </p:nvPr>
        </p:nvSpPr>
        <p:spPr>
          <a:xfrm>
            <a:off x="581926" y="2225557"/>
            <a:ext cx="3644336" cy="376967"/>
          </a:xfrm>
          <a:prstGeom prst="rect">
            <a:avLst/>
          </a:prstGeom>
          <a:noFill/>
          <a:ln>
            <a:noFill/>
          </a:ln>
        </p:spPr>
        <p:txBody>
          <a:bodyPr wrap="square" lIns="91421" tIns="91421" rIns="91421" bIns="91421" anchor="ctr" anchorCtr="0"/>
          <a:lstStyle>
            <a:lvl1pPr marL="0" marR="0" lvl="0" indent="0" algn="l" rtl="0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lt1"/>
              </a:buClr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00" name="Shape 200"/>
          <p:cNvSpPr txBox="1">
            <a:spLocks noGrp="1"/>
          </p:cNvSpPr>
          <p:nvPr>
            <p:ph type="body" idx="1"/>
          </p:nvPr>
        </p:nvSpPr>
        <p:spPr>
          <a:xfrm>
            <a:off x="581926" y="3087450"/>
            <a:ext cx="3644336" cy="630622"/>
          </a:xfrm>
          <a:prstGeom prst="rect">
            <a:avLst/>
          </a:prstGeom>
          <a:noFill/>
          <a:ln>
            <a:noFill/>
          </a:ln>
        </p:spPr>
        <p:txBody>
          <a:bodyPr wrap="square" lIns="91421" tIns="91421" rIns="91421" bIns="91421" anchor="t" anchorCtr="0"/>
          <a:lstStyle>
            <a:lvl1pPr marL="0" marR="0" lvl="0" indent="0" algn="l" rtl="0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Clr>
                <a:srgbClr val="EB571C"/>
              </a:buClr>
              <a:buFont typeface="Arial"/>
              <a:buNone/>
              <a:defRPr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14325" marR="0" lvl="1" indent="-184141" algn="l" rtl="0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chemeClr val="accent3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07" marR="0" lvl="2" indent="-196840" algn="l" rtl="0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chemeClr val="accent2"/>
              </a:buClr>
              <a:buSzPct val="1000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090" marR="0" lvl="3" indent="-203190" algn="l" rtl="0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24447D"/>
              </a:buClr>
              <a:buSzPct val="1000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2974" marR="0" lvl="4" indent="-203190" algn="l" rtl="0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SzPct val="1000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856" marR="0" lvl="5" indent="-82546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739" marR="0" lvl="6" indent="-82546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622" marR="0" lvl="7" indent="-82546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505" marR="0" lvl="8" indent="-82546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1" name="Shape 201"/>
          <p:cNvSpPr txBox="1">
            <a:spLocks noGrp="1"/>
          </p:cNvSpPr>
          <p:nvPr>
            <p:ph type="body" idx="2"/>
          </p:nvPr>
        </p:nvSpPr>
        <p:spPr>
          <a:xfrm>
            <a:off x="581926" y="2571750"/>
            <a:ext cx="3644336" cy="387234"/>
          </a:xfrm>
          <a:prstGeom prst="rect">
            <a:avLst/>
          </a:prstGeom>
          <a:noFill/>
          <a:ln>
            <a:noFill/>
          </a:ln>
        </p:spPr>
        <p:txBody>
          <a:bodyPr wrap="square" lIns="91421" tIns="91421" rIns="91421" bIns="91421" anchor="ctr" anchorCtr="0"/>
          <a:lstStyle>
            <a:lvl1pPr marL="0" marR="0" lvl="0" indent="0" algn="l" rtl="0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Font typeface="Arial"/>
              <a:buNone/>
              <a:defRPr sz="2400" b="1" i="0" u="none" strike="noStrike" cap="none">
                <a:solidFill>
                  <a:schemeClr val="lt1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  <a:lvl2pPr marL="514325" marR="0" lvl="1" indent="-184141" algn="l" rtl="0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chemeClr val="accent3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857207" marR="0" lvl="2" indent="-196840" algn="l" rtl="0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chemeClr val="accent2"/>
              </a:buClr>
              <a:buSzPct val="1000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200090" marR="0" lvl="3" indent="-203190" algn="l" rtl="0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24447D"/>
              </a:buClr>
              <a:buSzPct val="1000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42974" marR="0" lvl="4" indent="-203190" algn="l" rtl="0">
              <a:lnSpc>
                <a:spcPct val="130000"/>
              </a:lnSpc>
              <a:spcBef>
                <a:spcPts val="450"/>
              </a:spcBef>
              <a:spcAft>
                <a:spcPts val="450"/>
              </a:spcAft>
              <a:buClr>
                <a:srgbClr val="EB571C"/>
              </a:buClr>
              <a:buSzPct val="1000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885856" marR="0" lvl="5" indent="-82546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739" marR="0" lvl="6" indent="-82546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622" marR="0" lvl="7" indent="-82546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505" marR="0" lvl="8" indent="-82546" algn="l" rtl="0">
              <a:lnSpc>
                <a:spcPct val="90000"/>
              </a:lnSpc>
              <a:spcBef>
                <a:spcPts val="375"/>
              </a:spcBef>
              <a:buClr>
                <a:schemeClr val="dk1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346525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/ 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rostokąt 2"/>
          <p:cNvSpPr/>
          <p:nvPr userDrawn="1"/>
        </p:nvSpPr>
        <p:spPr>
          <a:xfrm>
            <a:off x="793" y="0"/>
            <a:ext cx="9144000" cy="514350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>
              <a:ln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46" name="Tytuł 1"/>
          <p:cNvSpPr>
            <a:spLocks noGrp="1"/>
          </p:cNvSpPr>
          <p:nvPr>
            <p:ph type="title" hasCustomPrompt="1"/>
          </p:nvPr>
        </p:nvSpPr>
        <p:spPr>
          <a:xfrm>
            <a:off x="3933825" y="1496625"/>
            <a:ext cx="4953436" cy="863661"/>
          </a:xfrm>
        </p:spPr>
        <p:txBody>
          <a:bodyPr anchor="ctr"/>
          <a:lstStyle>
            <a:lvl1pPr algn="l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EDIT TITLE</a:t>
            </a:r>
            <a:endParaRPr lang="en-US" dirty="0"/>
          </a:p>
        </p:txBody>
      </p:sp>
      <p:grpSp>
        <p:nvGrpSpPr>
          <p:cNvPr id="64" name="Group 35"/>
          <p:cNvGrpSpPr>
            <a:grpSpLocks noChangeAspect="1"/>
          </p:cNvGrpSpPr>
          <p:nvPr userDrawn="1"/>
        </p:nvGrpSpPr>
        <p:grpSpPr bwMode="auto">
          <a:xfrm>
            <a:off x="609601" y="849169"/>
            <a:ext cx="2507458" cy="3026386"/>
            <a:chOff x="2363" y="293"/>
            <a:chExt cx="1208" cy="1458"/>
          </a:xfrm>
        </p:grpSpPr>
        <p:sp>
          <p:nvSpPr>
            <p:cNvPr id="65" name="Freeform 36"/>
            <p:cNvSpPr>
              <a:spLocks/>
            </p:cNvSpPr>
            <p:nvPr userDrawn="1"/>
          </p:nvSpPr>
          <p:spPr bwMode="auto">
            <a:xfrm>
              <a:off x="2943" y="1403"/>
              <a:ext cx="130" cy="117"/>
            </a:xfrm>
            <a:custGeom>
              <a:avLst/>
              <a:gdLst>
                <a:gd name="T0" fmla="*/ 130 w 130"/>
                <a:gd name="T1" fmla="*/ 0 h 117"/>
                <a:gd name="T2" fmla="*/ 129 w 130"/>
                <a:gd name="T3" fmla="*/ 0 h 117"/>
                <a:gd name="T4" fmla="*/ 0 w 130"/>
                <a:gd name="T5" fmla="*/ 11 h 117"/>
                <a:gd name="T6" fmla="*/ 74 w 130"/>
                <a:gd name="T7" fmla="*/ 117 h 117"/>
                <a:gd name="T8" fmla="*/ 74 w 130"/>
                <a:gd name="T9" fmla="*/ 117 h 117"/>
                <a:gd name="T10" fmla="*/ 130 w 130"/>
                <a:gd name="T1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117">
                  <a:moveTo>
                    <a:pt x="130" y="0"/>
                  </a:moveTo>
                  <a:lnTo>
                    <a:pt x="129" y="0"/>
                  </a:lnTo>
                  <a:lnTo>
                    <a:pt x="0" y="11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130" y="0"/>
                  </a:lnTo>
                  <a:close/>
                </a:path>
              </a:pathLst>
            </a:custGeom>
            <a:solidFill>
              <a:srgbClr val="124F9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7"/>
            <p:cNvSpPr>
              <a:spLocks/>
            </p:cNvSpPr>
            <p:nvPr userDrawn="1"/>
          </p:nvSpPr>
          <p:spPr bwMode="auto">
            <a:xfrm>
              <a:off x="2943" y="1403"/>
              <a:ext cx="130" cy="117"/>
            </a:xfrm>
            <a:custGeom>
              <a:avLst/>
              <a:gdLst>
                <a:gd name="T0" fmla="*/ 130 w 130"/>
                <a:gd name="T1" fmla="*/ 0 h 117"/>
                <a:gd name="T2" fmla="*/ 129 w 130"/>
                <a:gd name="T3" fmla="*/ 0 h 117"/>
                <a:gd name="T4" fmla="*/ 0 w 130"/>
                <a:gd name="T5" fmla="*/ 11 h 117"/>
                <a:gd name="T6" fmla="*/ 74 w 130"/>
                <a:gd name="T7" fmla="*/ 117 h 117"/>
                <a:gd name="T8" fmla="*/ 74 w 130"/>
                <a:gd name="T9" fmla="*/ 117 h 117"/>
                <a:gd name="T10" fmla="*/ 130 w 130"/>
                <a:gd name="T1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117">
                  <a:moveTo>
                    <a:pt x="130" y="0"/>
                  </a:moveTo>
                  <a:lnTo>
                    <a:pt x="129" y="0"/>
                  </a:lnTo>
                  <a:lnTo>
                    <a:pt x="0" y="11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13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8"/>
            <p:cNvSpPr>
              <a:spLocks/>
            </p:cNvSpPr>
            <p:nvPr userDrawn="1"/>
          </p:nvSpPr>
          <p:spPr bwMode="auto">
            <a:xfrm>
              <a:off x="3194" y="1021"/>
              <a:ext cx="83" cy="84"/>
            </a:xfrm>
            <a:custGeom>
              <a:avLst/>
              <a:gdLst>
                <a:gd name="T0" fmla="*/ 26 w 83"/>
                <a:gd name="T1" fmla="*/ 0 h 84"/>
                <a:gd name="T2" fmla="*/ 0 w 83"/>
                <a:gd name="T3" fmla="*/ 57 h 84"/>
                <a:gd name="T4" fmla="*/ 57 w 83"/>
                <a:gd name="T5" fmla="*/ 84 h 84"/>
                <a:gd name="T6" fmla="*/ 57 w 83"/>
                <a:gd name="T7" fmla="*/ 84 h 84"/>
                <a:gd name="T8" fmla="*/ 83 w 83"/>
                <a:gd name="T9" fmla="*/ 26 h 84"/>
                <a:gd name="T10" fmla="*/ 26 w 83"/>
                <a:gd name="T11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26" y="0"/>
                  </a:moveTo>
                  <a:lnTo>
                    <a:pt x="0" y="57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83" y="26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3D649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39"/>
            <p:cNvSpPr>
              <a:spLocks/>
            </p:cNvSpPr>
            <p:nvPr userDrawn="1"/>
          </p:nvSpPr>
          <p:spPr bwMode="auto">
            <a:xfrm>
              <a:off x="3194" y="1021"/>
              <a:ext cx="83" cy="84"/>
            </a:xfrm>
            <a:custGeom>
              <a:avLst/>
              <a:gdLst>
                <a:gd name="T0" fmla="*/ 26 w 83"/>
                <a:gd name="T1" fmla="*/ 0 h 84"/>
                <a:gd name="T2" fmla="*/ 0 w 83"/>
                <a:gd name="T3" fmla="*/ 57 h 84"/>
                <a:gd name="T4" fmla="*/ 57 w 83"/>
                <a:gd name="T5" fmla="*/ 84 h 84"/>
                <a:gd name="T6" fmla="*/ 57 w 83"/>
                <a:gd name="T7" fmla="*/ 84 h 84"/>
                <a:gd name="T8" fmla="*/ 83 w 83"/>
                <a:gd name="T9" fmla="*/ 26 h 84"/>
                <a:gd name="T10" fmla="*/ 26 w 83"/>
                <a:gd name="T11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26" y="0"/>
                  </a:moveTo>
                  <a:lnTo>
                    <a:pt x="0" y="57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83" y="26"/>
                  </a:lnTo>
                  <a:lnTo>
                    <a:pt x="2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1"/>
            <p:cNvSpPr>
              <a:spLocks/>
            </p:cNvSpPr>
            <p:nvPr userDrawn="1"/>
          </p:nvSpPr>
          <p:spPr bwMode="auto">
            <a:xfrm>
              <a:off x="2796" y="1709"/>
              <a:ext cx="43" cy="42"/>
            </a:xfrm>
            <a:custGeom>
              <a:avLst/>
              <a:gdLst>
                <a:gd name="T0" fmla="*/ 5 w 43"/>
                <a:gd name="T1" fmla="*/ 0 h 42"/>
                <a:gd name="T2" fmla="*/ 5 w 43"/>
                <a:gd name="T3" fmla="*/ 0 h 42"/>
                <a:gd name="T4" fmla="*/ 0 w 43"/>
                <a:gd name="T5" fmla="*/ 38 h 42"/>
                <a:gd name="T6" fmla="*/ 38 w 43"/>
                <a:gd name="T7" fmla="*/ 42 h 42"/>
                <a:gd name="T8" fmla="*/ 43 w 43"/>
                <a:gd name="T9" fmla="*/ 5 h 42"/>
                <a:gd name="T10" fmla="*/ 43 w 43"/>
                <a:gd name="T11" fmla="*/ 5 h 42"/>
                <a:gd name="T12" fmla="*/ 5 w 43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42">
                  <a:moveTo>
                    <a:pt x="5" y="0"/>
                  </a:moveTo>
                  <a:lnTo>
                    <a:pt x="5" y="0"/>
                  </a:lnTo>
                  <a:lnTo>
                    <a:pt x="0" y="38"/>
                  </a:lnTo>
                  <a:lnTo>
                    <a:pt x="38" y="42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5" y="0"/>
                  </a:lnTo>
                </a:path>
              </a:pathLst>
            </a:custGeom>
            <a:solidFill>
              <a:srgbClr val="14509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2"/>
            <p:cNvSpPr>
              <a:spLocks/>
            </p:cNvSpPr>
            <p:nvPr userDrawn="1"/>
          </p:nvSpPr>
          <p:spPr bwMode="auto">
            <a:xfrm>
              <a:off x="2363" y="293"/>
              <a:ext cx="86" cy="79"/>
            </a:xfrm>
            <a:custGeom>
              <a:avLst/>
              <a:gdLst>
                <a:gd name="T0" fmla="*/ 0 w 86"/>
                <a:gd name="T1" fmla="*/ 0 h 79"/>
                <a:gd name="T2" fmla="*/ 0 w 86"/>
                <a:gd name="T3" fmla="*/ 0 h 79"/>
                <a:gd name="T4" fmla="*/ 37 w 86"/>
                <a:gd name="T5" fmla="*/ 79 h 79"/>
                <a:gd name="T6" fmla="*/ 37 w 86"/>
                <a:gd name="T7" fmla="*/ 79 h 79"/>
                <a:gd name="T8" fmla="*/ 86 w 86"/>
                <a:gd name="T9" fmla="*/ 7 h 79"/>
                <a:gd name="T10" fmla="*/ 0 w 86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79">
                  <a:moveTo>
                    <a:pt x="0" y="0"/>
                  </a:moveTo>
                  <a:lnTo>
                    <a:pt x="0" y="0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86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D458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3"/>
            <p:cNvSpPr>
              <a:spLocks/>
            </p:cNvSpPr>
            <p:nvPr userDrawn="1"/>
          </p:nvSpPr>
          <p:spPr bwMode="auto">
            <a:xfrm>
              <a:off x="2363" y="293"/>
              <a:ext cx="86" cy="79"/>
            </a:xfrm>
            <a:custGeom>
              <a:avLst/>
              <a:gdLst>
                <a:gd name="T0" fmla="*/ 0 w 86"/>
                <a:gd name="T1" fmla="*/ 0 h 79"/>
                <a:gd name="T2" fmla="*/ 0 w 86"/>
                <a:gd name="T3" fmla="*/ 0 h 79"/>
                <a:gd name="T4" fmla="*/ 37 w 86"/>
                <a:gd name="T5" fmla="*/ 79 h 79"/>
                <a:gd name="T6" fmla="*/ 37 w 86"/>
                <a:gd name="T7" fmla="*/ 79 h 79"/>
                <a:gd name="T8" fmla="*/ 86 w 86"/>
                <a:gd name="T9" fmla="*/ 7 h 79"/>
                <a:gd name="T10" fmla="*/ 0 w 86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79">
                  <a:moveTo>
                    <a:pt x="0" y="0"/>
                  </a:moveTo>
                  <a:lnTo>
                    <a:pt x="0" y="0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86" y="7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4"/>
            <p:cNvSpPr>
              <a:spLocks/>
            </p:cNvSpPr>
            <p:nvPr userDrawn="1"/>
          </p:nvSpPr>
          <p:spPr bwMode="auto">
            <a:xfrm>
              <a:off x="2771" y="366"/>
              <a:ext cx="66" cy="62"/>
            </a:xfrm>
            <a:custGeom>
              <a:avLst/>
              <a:gdLst>
                <a:gd name="T0" fmla="*/ 48 w 90"/>
                <a:gd name="T1" fmla="*/ 0 h 84"/>
                <a:gd name="T2" fmla="*/ 30 w 90"/>
                <a:gd name="T3" fmla="*/ 4 h 84"/>
                <a:gd name="T4" fmla="*/ 10 w 90"/>
                <a:gd name="T5" fmla="*/ 60 h 84"/>
                <a:gd name="T6" fmla="*/ 48 w 90"/>
                <a:gd name="T7" fmla="*/ 84 h 84"/>
                <a:gd name="T8" fmla="*/ 49 w 90"/>
                <a:gd name="T9" fmla="*/ 84 h 84"/>
                <a:gd name="T10" fmla="*/ 66 w 90"/>
                <a:gd name="T11" fmla="*/ 80 h 84"/>
                <a:gd name="T12" fmla="*/ 90 w 90"/>
                <a:gd name="T13" fmla="*/ 43 h 84"/>
                <a:gd name="T14" fmla="*/ 90 w 90"/>
                <a:gd name="T15" fmla="*/ 41 h 84"/>
                <a:gd name="T16" fmla="*/ 86 w 90"/>
                <a:gd name="T17" fmla="*/ 24 h 84"/>
                <a:gd name="T18" fmla="*/ 48 w 90"/>
                <a:gd name="T1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4">
                  <a:moveTo>
                    <a:pt x="48" y="0"/>
                  </a:moveTo>
                  <a:cubicBezTo>
                    <a:pt x="42" y="0"/>
                    <a:pt x="36" y="1"/>
                    <a:pt x="30" y="4"/>
                  </a:cubicBezTo>
                  <a:cubicBezTo>
                    <a:pt x="9" y="14"/>
                    <a:pt x="0" y="39"/>
                    <a:pt x="10" y="60"/>
                  </a:cubicBezTo>
                  <a:cubicBezTo>
                    <a:pt x="17" y="75"/>
                    <a:pt x="32" y="84"/>
                    <a:pt x="48" y="84"/>
                  </a:cubicBezTo>
                  <a:cubicBezTo>
                    <a:pt x="49" y="84"/>
                    <a:pt x="49" y="84"/>
                    <a:pt x="49" y="84"/>
                  </a:cubicBezTo>
                  <a:cubicBezTo>
                    <a:pt x="55" y="84"/>
                    <a:pt x="61" y="83"/>
                    <a:pt x="66" y="80"/>
                  </a:cubicBezTo>
                  <a:cubicBezTo>
                    <a:pt x="81" y="73"/>
                    <a:pt x="90" y="59"/>
                    <a:pt x="90" y="43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90" y="35"/>
                    <a:pt x="89" y="30"/>
                    <a:pt x="86" y="24"/>
                  </a:cubicBezTo>
                  <a:cubicBezTo>
                    <a:pt x="79" y="9"/>
                    <a:pt x="64" y="0"/>
                    <a:pt x="48" y="0"/>
                  </a:cubicBezTo>
                </a:path>
              </a:pathLst>
            </a:custGeom>
            <a:solidFill>
              <a:srgbClr val="5988C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5"/>
            <p:cNvSpPr>
              <a:spLocks/>
            </p:cNvSpPr>
            <p:nvPr userDrawn="1"/>
          </p:nvSpPr>
          <p:spPr bwMode="auto">
            <a:xfrm>
              <a:off x="2585" y="539"/>
              <a:ext cx="41" cy="41"/>
            </a:xfrm>
            <a:custGeom>
              <a:avLst/>
              <a:gdLst>
                <a:gd name="T0" fmla="*/ 28 w 41"/>
                <a:gd name="T1" fmla="*/ 0 h 41"/>
                <a:gd name="T2" fmla="*/ 28 w 41"/>
                <a:gd name="T3" fmla="*/ 0 h 41"/>
                <a:gd name="T4" fmla="*/ 0 w 41"/>
                <a:gd name="T5" fmla="*/ 13 h 41"/>
                <a:gd name="T6" fmla="*/ 13 w 41"/>
                <a:gd name="T7" fmla="*/ 41 h 41"/>
                <a:gd name="T8" fmla="*/ 13 w 41"/>
                <a:gd name="T9" fmla="*/ 41 h 41"/>
                <a:gd name="T10" fmla="*/ 41 w 41"/>
                <a:gd name="T11" fmla="*/ 28 h 41"/>
                <a:gd name="T12" fmla="*/ 41 w 41"/>
                <a:gd name="T13" fmla="*/ 28 h 41"/>
                <a:gd name="T14" fmla="*/ 28 w 41"/>
                <a:gd name="T1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41">
                  <a:moveTo>
                    <a:pt x="28" y="0"/>
                  </a:moveTo>
                  <a:lnTo>
                    <a:pt x="28" y="0"/>
                  </a:lnTo>
                  <a:lnTo>
                    <a:pt x="0" y="13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4C60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6"/>
            <p:cNvSpPr>
              <a:spLocks/>
            </p:cNvSpPr>
            <p:nvPr userDrawn="1"/>
          </p:nvSpPr>
          <p:spPr bwMode="auto">
            <a:xfrm>
              <a:off x="2585" y="539"/>
              <a:ext cx="41" cy="41"/>
            </a:xfrm>
            <a:custGeom>
              <a:avLst/>
              <a:gdLst>
                <a:gd name="T0" fmla="*/ 28 w 41"/>
                <a:gd name="T1" fmla="*/ 0 h 41"/>
                <a:gd name="T2" fmla="*/ 28 w 41"/>
                <a:gd name="T3" fmla="*/ 0 h 41"/>
                <a:gd name="T4" fmla="*/ 0 w 41"/>
                <a:gd name="T5" fmla="*/ 13 h 41"/>
                <a:gd name="T6" fmla="*/ 13 w 41"/>
                <a:gd name="T7" fmla="*/ 41 h 41"/>
                <a:gd name="T8" fmla="*/ 13 w 41"/>
                <a:gd name="T9" fmla="*/ 41 h 41"/>
                <a:gd name="T10" fmla="*/ 41 w 41"/>
                <a:gd name="T11" fmla="*/ 28 h 41"/>
                <a:gd name="T12" fmla="*/ 41 w 41"/>
                <a:gd name="T13" fmla="*/ 28 h 41"/>
                <a:gd name="T14" fmla="*/ 28 w 41"/>
                <a:gd name="T1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41">
                  <a:moveTo>
                    <a:pt x="28" y="0"/>
                  </a:moveTo>
                  <a:lnTo>
                    <a:pt x="28" y="0"/>
                  </a:lnTo>
                  <a:lnTo>
                    <a:pt x="0" y="13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28" y="0"/>
                  </a:lnTo>
                </a:path>
              </a:pathLst>
            </a:custGeom>
            <a:solidFill>
              <a:srgbClr val="1A63B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47"/>
            <p:cNvSpPr>
              <a:spLocks/>
            </p:cNvSpPr>
            <p:nvPr userDrawn="1"/>
          </p:nvSpPr>
          <p:spPr bwMode="auto">
            <a:xfrm>
              <a:off x="2566" y="886"/>
              <a:ext cx="58" cy="59"/>
            </a:xfrm>
            <a:custGeom>
              <a:avLst/>
              <a:gdLst>
                <a:gd name="T0" fmla="*/ 27 w 58"/>
                <a:gd name="T1" fmla="*/ 0 h 59"/>
                <a:gd name="T2" fmla="*/ 27 w 58"/>
                <a:gd name="T3" fmla="*/ 0 h 59"/>
                <a:gd name="T4" fmla="*/ 0 w 58"/>
                <a:gd name="T5" fmla="*/ 31 h 59"/>
                <a:gd name="T6" fmla="*/ 30 w 58"/>
                <a:gd name="T7" fmla="*/ 59 h 59"/>
                <a:gd name="T8" fmla="*/ 58 w 58"/>
                <a:gd name="T9" fmla="*/ 27 h 59"/>
                <a:gd name="T10" fmla="*/ 27 w 58"/>
                <a:gd name="T1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59">
                  <a:moveTo>
                    <a:pt x="27" y="0"/>
                  </a:moveTo>
                  <a:lnTo>
                    <a:pt x="27" y="0"/>
                  </a:lnTo>
                  <a:lnTo>
                    <a:pt x="0" y="31"/>
                  </a:lnTo>
                  <a:lnTo>
                    <a:pt x="30" y="59"/>
                  </a:lnTo>
                  <a:lnTo>
                    <a:pt x="58" y="27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1E69B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48"/>
            <p:cNvSpPr>
              <a:spLocks/>
            </p:cNvSpPr>
            <p:nvPr userDrawn="1"/>
          </p:nvSpPr>
          <p:spPr bwMode="auto">
            <a:xfrm>
              <a:off x="2566" y="886"/>
              <a:ext cx="58" cy="59"/>
            </a:xfrm>
            <a:custGeom>
              <a:avLst/>
              <a:gdLst>
                <a:gd name="T0" fmla="*/ 27 w 58"/>
                <a:gd name="T1" fmla="*/ 0 h 59"/>
                <a:gd name="T2" fmla="*/ 27 w 58"/>
                <a:gd name="T3" fmla="*/ 0 h 59"/>
                <a:gd name="T4" fmla="*/ 0 w 58"/>
                <a:gd name="T5" fmla="*/ 31 h 59"/>
                <a:gd name="T6" fmla="*/ 30 w 58"/>
                <a:gd name="T7" fmla="*/ 59 h 59"/>
                <a:gd name="T8" fmla="*/ 58 w 58"/>
                <a:gd name="T9" fmla="*/ 27 h 59"/>
                <a:gd name="T10" fmla="*/ 27 w 58"/>
                <a:gd name="T1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59">
                  <a:moveTo>
                    <a:pt x="27" y="0"/>
                  </a:moveTo>
                  <a:lnTo>
                    <a:pt x="27" y="0"/>
                  </a:lnTo>
                  <a:lnTo>
                    <a:pt x="0" y="31"/>
                  </a:lnTo>
                  <a:lnTo>
                    <a:pt x="30" y="59"/>
                  </a:lnTo>
                  <a:lnTo>
                    <a:pt x="58" y="27"/>
                  </a:lnTo>
                  <a:lnTo>
                    <a:pt x="27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49"/>
            <p:cNvSpPr>
              <a:spLocks/>
            </p:cNvSpPr>
            <p:nvPr userDrawn="1"/>
          </p:nvSpPr>
          <p:spPr bwMode="auto">
            <a:xfrm>
              <a:off x="2948" y="769"/>
              <a:ext cx="53" cy="54"/>
            </a:xfrm>
            <a:custGeom>
              <a:avLst/>
              <a:gdLst>
                <a:gd name="T0" fmla="*/ 10 w 53"/>
                <a:gd name="T1" fmla="*/ 0 h 54"/>
                <a:gd name="T2" fmla="*/ 10 w 53"/>
                <a:gd name="T3" fmla="*/ 0 h 54"/>
                <a:gd name="T4" fmla="*/ 0 w 53"/>
                <a:gd name="T5" fmla="*/ 43 h 54"/>
                <a:gd name="T6" fmla="*/ 0 w 53"/>
                <a:gd name="T7" fmla="*/ 43 h 54"/>
                <a:gd name="T8" fmla="*/ 43 w 53"/>
                <a:gd name="T9" fmla="*/ 54 h 54"/>
                <a:gd name="T10" fmla="*/ 53 w 53"/>
                <a:gd name="T11" fmla="*/ 11 h 54"/>
                <a:gd name="T12" fmla="*/ 10 w 53"/>
                <a:gd name="T1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54">
                  <a:moveTo>
                    <a:pt x="10" y="0"/>
                  </a:moveTo>
                  <a:lnTo>
                    <a:pt x="10" y="0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43" y="54"/>
                  </a:lnTo>
                  <a:lnTo>
                    <a:pt x="53" y="11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15559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0"/>
            <p:cNvSpPr>
              <a:spLocks/>
            </p:cNvSpPr>
            <p:nvPr userDrawn="1"/>
          </p:nvSpPr>
          <p:spPr bwMode="auto">
            <a:xfrm>
              <a:off x="2948" y="769"/>
              <a:ext cx="53" cy="54"/>
            </a:xfrm>
            <a:custGeom>
              <a:avLst/>
              <a:gdLst>
                <a:gd name="T0" fmla="*/ 10 w 53"/>
                <a:gd name="T1" fmla="*/ 0 h 54"/>
                <a:gd name="T2" fmla="*/ 10 w 53"/>
                <a:gd name="T3" fmla="*/ 0 h 54"/>
                <a:gd name="T4" fmla="*/ 0 w 53"/>
                <a:gd name="T5" fmla="*/ 43 h 54"/>
                <a:gd name="T6" fmla="*/ 0 w 53"/>
                <a:gd name="T7" fmla="*/ 43 h 54"/>
                <a:gd name="T8" fmla="*/ 43 w 53"/>
                <a:gd name="T9" fmla="*/ 54 h 54"/>
                <a:gd name="T10" fmla="*/ 53 w 53"/>
                <a:gd name="T11" fmla="*/ 11 h 54"/>
                <a:gd name="T12" fmla="*/ 10 w 53"/>
                <a:gd name="T1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54">
                  <a:moveTo>
                    <a:pt x="10" y="0"/>
                  </a:moveTo>
                  <a:lnTo>
                    <a:pt x="10" y="0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43" y="54"/>
                  </a:lnTo>
                  <a:lnTo>
                    <a:pt x="53" y="11"/>
                  </a:lnTo>
                  <a:lnTo>
                    <a:pt x="1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51"/>
            <p:cNvSpPr>
              <a:spLocks noEditPoints="1"/>
            </p:cNvSpPr>
            <p:nvPr userDrawn="1"/>
          </p:nvSpPr>
          <p:spPr bwMode="auto">
            <a:xfrm>
              <a:off x="3034" y="648"/>
              <a:ext cx="109" cy="101"/>
            </a:xfrm>
            <a:custGeom>
              <a:avLst/>
              <a:gdLst>
                <a:gd name="T0" fmla="*/ 92 w 147"/>
                <a:gd name="T1" fmla="*/ 102 h 137"/>
                <a:gd name="T2" fmla="*/ 90 w 147"/>
                <a:gd name="T3" fmla="*/ 94 h 137"/>
                <a:gd name="T4" fmla="*/ 100 w 147"/>
                <a:gd name="T5" fmla="*/ 88 h 137"/>
                <a:gd name="T6" fmla="*/ 104 w 147"/>
                <a:gd name="T7" fmla="*/ 110 h 137"/>
                <a:gd name="T8" fmla="*/ 66 w 147"/>
                <a:gd name="T9" fmla="*/ 115 h 137"/>
                <a:gd name="T10" fmla="*/ 44 w 147"/>
                <a:gd name="T11" fmla="*/ 79 h 137"/>
                <a:gd name="T12" fmla="*/ 56 w 147"/>
                <a:gd name="T13" fmla="*/ 81 h 137"/>
                <a:gd name="T14" fmla="*/ 77 w 147"/>
                <a:gd name="T15" fmla="*/ 97 h 137"/>
                <a:gd name="T16" fmla="*/ 84 w 147"/>
                <a:gd name="T17" fmla="*/ 107 h 137"/>
                <a:gd name="T18" fmla="*/ 101 w 147"/>
                <a:gd name="T19" fmla="*/ 112 h 137"/>
                <a:gd name="T20" fmla="*/ 79 w 147"/>
                <a:gd name="T21" fmla="*/ 93 h 137"/>
                <a:gd name="T22" fmla="*/ 54 w 147"/>
                <a:gd name="T23" fmla="*/ 74 h 137"/>
                <a:gd name="T24" fmla="*/ 77 w 147"/>
                <a:gd name="T25" fmla="*/ 76 h 137"/>
                <a:gd name="T26" fmla="*/ 85 w 147"/>
                <a:gd name="T27" fmla="*/ 74 h 137"/>
                <a:gd name="T28" fmla="*/ 92 w 147"/>
                <a:gd name="T29" fmla="*/ 86 h 137"/>
                <a:gd name="T30" fmla="*/ 86 w 147"/>
                <a:gd name="T31" fmla="*/ 92 h 137"/>
                <a:gd name="T32" fmla="*/ 79 w 147"/>
                <a:gd name="T33" fmla="*/ 93 h 137"/>
                <a:gd name="T34" fmla="*/ 86 w 147"/>
                <a:gd name="T35" fmla="*/ 70 h 137"/>
                <a:gd name="T36" fmla="*/ 93 w 147"/>
                <a:gd name="T37" fmla="*/ 58 h 137"/>
                <a:gd name="T38" fmla="*/ 97 w 147"/>
                <a:gd name="T39" fmla="*/ 59 h 137"/>
                <a:gd name="T40" fmla="*/ 93 w 147"/>
                <a:gd name="T41" fmla="*/ 73 h 137"/>
                <a:gd name="T42" fmla="*/ 52 w 147"/>
                <a:gd name="T43" fmla="*/ 69 h 137"/>
                <a:gd name="T44" fmla="*/ 63 w 147"/>
                <a:gd name="T45" fmla="*/ 46 h 137"/>
                <a:gd name="T46" fmla="*/ 75 w 147"/>
                <a:gd name="T47" fmla="*/ 44 h 137"/>
                <a:gd name="T48" fmla="*/ 91 w 147"/>
                <a:gd name="T49" fmla="*/ 55 h 137"/>
                <a:gd name="T50" fmla="*/ 81 w 147"/>
                <a:gd name="T51" fmla="*/ 61 h 137"/>
                <a:gd name="T52" fmla="*/ 71 w 147"/>
                <a:gd name="T53" fmla="*/ 67 h 137"/>
                <a:gd name="T54" fmla="*/ 53 w 147"/>
                <a:gd name="T55" fmla="*/ 71 h 137"/>
                <a:gd name="T56" fmla="*/ 100 w 147"/>
                <a:gd name="T57" fmla="*/ 59 h 137"/>
                <a:gd name="T58" fmla="*/ 104 w 147"/>
                <a:gd name="T59" fmla="*/ 44 h 137"/>
                <a:gd name="T60" fmla="*/ 125 w 147"/>
                <a:gd name="T61" fmla="*/ 81 h 137"/>
                <a:gd name="T62" fmla="*/ 104 w 147"/>
                <a:gd name="T63" fmla="*/ 87 h 137"/>
                <a:gd name="T64" fmla="*/ 106 w 147"/>
                <a:gd name="T65" fmla="*/ 72 h 137"/>
                <a:gd name="T66" fmla="*/ 91 w 147"/>
                <a:gd name="T67" fmla="*/ 46 h 137"/>
                <a:gd name="T68" fmla="*/ 75 w 147"/>
                <a:gd name="T69" fmla="*/ 35 h 137"/>
                <a:gd name="T70" fmla="*/ 108 w 147"/>
                <a:gd name="T71" fmla="*/ 31 h 137"/>
                <a:gd name="T72" fmla="*/ 101 w 147"/>
                <a:gd name="T73" fmla="*/ 42 h 137"/>
                <a:gd name="T74" fmla="*/ 91 w 147"/>
                <a:gd name="T75" fmla="*/ 46 h 137"/>
                <a:gd name="T76" fmla="*/ 32 w 147"/>
                <a:gd name="T77" fmla="*/ 56 h 137"/>
                <a:gd name="T78" fmla="*/ 59 w 147"/>
                <a:gd name="T79" fmla="*/ 30 h 137"/>
                <a:gd name="T80" fmla="*/ 59 w 147"/>
                <a:gd name="T81" fmla="*/ 46 h 137"/>
                <a:gd name="T82" fmla="*/ 51 w 147"/>
                <a:gd name="T83" fmla="*/ 65 h 137"/>
                <a:gd name="T84" fmla="*/ 38 w 147"/>
                <a:gd name="T85" fmla="*/ 78 h 137"/>
                <a:gd name="T86" fmla="*/ 34 w 147"/>
                <a:gd name="T87" fmla="*/ 86 h 137"/>
                <a:gd name="T88" fmla="*/ 60 w 147"/>
                <a:gd name="T89" fmla="*/ 24 h 137"/>
                <a:gd name="T90" fmla="*/ 91 w 147"/>
                <a:gd name="T91" fmla="*/ 22 h 137"/>
                <a:gd name="T92" fmla="*/ 74 w 147"/>
                <a:gd name="T93" fmla="*/ 31 h 137"/>
                <a:gd name="T94" fmla="*/ 63 w 147"/>
                <a:gd name="T95" fmla="*/ 29 h 137"/>
                <a:gd name="T96" fmla="*/ 16 w 147"/>
                <a:gd name="T97" fmla="*/ 39 h 137"/>
                <a:gd name="T98" fmla="*/ 77 w 147"/>
                <a:gd name="T99" fmla="*/ 137 h 137"/>
                <a:gd name="T100" fmla="*/ 140 w 147"/>
                <a:gd name="T101" fmla="*/ 98 h 137"/>
                <a:gd name="T102" fmla="*/ 147 w 147"/>
                <a:gd name="T103" fmla="*/ 68 h 137"/>
                <a:gd name="T104" fmla="*/ 78 w 147"/>
                <a:gd name="T105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7" h="137">
                  <a:moveTo>
                    <a:pt x="104" y="110"/>
                  </a:moveTo>
                  <a:cubicBezTo>
                    <a:pt x="92" y="102"/>
                    <a:pt x="92" y="102"/>
                    <a:pt x="92" y="102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93" y="99"/>
                    <a:pt x="92" y="96"/>
                    <a:pt x="90" y="94"/>
                  </a:cubicBezTo>
                  <a:cubicBezTo>
                    <a:pt x="95" y="88"/>
                    <a:pt x="95" y="88"/>
                    <a:pt x="95" y="88"/>
                  </a:cubicBezTo>
                  <a:cubicBezTo>
                    <a:pt x="100" y="88"/>
                    <a:pt x="100" y="88"/>
                    <a:pt x="100" y="88"/>
                  </a:cubicBezTo>
                  <a:cubicBezTo>
                    <a:pt x="108" y="107"/>
                    <a:pt x="108" y="107"/>
                    <a:pt x="108" y="107"/>
                  </a:cubicBezTo>
                  <a:cubicBezTo>
                    <a:pt x="107" y="108"/>
                    <a:pt x="105" y="109"/>
                    <a:pt x="104" y="110"/>
                  </a:cubicBezTo>
                  <a:moveTo>
                    <a:pt x="79" y="117"/>
                  </a:moveTo>
                  <a:cubicBezTo>
                    <a:pt x="75" y="117"/>
                    <a:pt x="70" y="116"/>
                    <a:pt x="66" y="115"/>
                  </a:cubicBezTo>
                  <a:cubicBezTo>
                    <a:pt x="52" y="111"/>
                    <a:pt x="41" y="101"/>
                    <a:pt x="35" y="89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56" y="82"/>
                    <a:pt x="56" y="82"/>
                    <a:pt x="56" y="82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77" y="96"/>
                    <a:pt x="77" y="96"/>
                    <a:pt x="77" y="96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6" y="101"/>
                    <a:pt x="78" y="106"/>
                    <a:pt x="82" y="107"/>
                  </a:cubicBezTo>
                  <a:cubicBezTo>
                    <a:pt x="83" y="107"/>
                    <a:pt x="84" y="107"/>
                    <a:pt x="84" y="107"/>
                  </a:cubicBezTo>
                  <a:cubicBezTo>
                    <a:pt x="87" y="107"/>
                    <a:pt x="89" y="106"/>
                    <a:pt x="90" y="105"/>
                  </a:cubicBezTo>
                  <a:cubicBezTo>
                    <a:pt x="101" y="112"/>
                    <a:pt x="101" y="112"/>
                    <a:pt x="101" y="112"/>
                  </a:cubicBezTo>
                  <a:cubicBezTo>
                    <a:pt x="94" y="115"/>
                    <a:pt x="86" y="117"/>
                    <a:pt x="79" y="117"/>
                  </a:cubicBezTo>
                  <a:moveTo>
                    <a:pt x="79" y="93"/>
                  </a:moveTo>
                  <a:cubicBezTo>
                    <a:pt x="54" y="75"/>
                    <a:pt x="54" y="75"/>
                    <a:pt x="54" y="75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71" y="71"/>
                    <a:pt x="71" y="71"/>
                    <a:pt x="71" y="71"/>
                  </a:cubicBezTo>
                  <a:cubicBezTo>
                    <a:pt x="72" y="74"/>
                    <a:pt x="74" y="76"/>
                    <a:pt x="77" y="76"/>
                  </a:cubicBezTo>
                  <a:cubicBezTo>
                    <a:pt x="77" y="76"/>
                    <a:pt x="78" y="76"/>
                    <a:pt x="79" y="76"/>
                  </a:cubicBezTo>
                  <a:cubicBezTo>
                    <a:pt x="81" y="76"/>
                    <a:pt x="83" y="75"/>
                    <a:pt x="85" y="74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92" y="86"/>
                    <a:pt x="92" y="86"/>
                    <a:pt x="92" y="86"/>
                  </a:cubicBezTo>
                  <a:cubicBezTo>
                    <a:pt x="88" y="92"/>
                    <a:pt x="88" y="92"/>
                    <a:pt x="88" y="92"/>
                  </a:cubicBezTo>
                  <a:cubicBezTo>
                    <a:pt x="87" y="92"/>
                    <a:pt x="87" y="92"/>
                    <a:pt x="86" y="92"/>
                  </a:cubicBezTo>
                  <a:cubicBezTo>
                    <a:pt x="86" y="92"/>
                    <a:pt x="85" y="92"/>
                    <a:pt x="84" y="92"/>
                  </a:cubicBezTo>
                  <a:cubicBezTo>
                    <a:pt x="83" y="92"/>
                    <a:pt x="81" y="92"/>
                    <a:pt x="79" y="93"/>
                  </a:cubicBezTo>
                  <a:moveTo>
                    <a:pt x="93" y="73"/>
                  </a:moveTo>
                  <a:cubicBezTo>
                    <a:pt x="86" y="70"/>
                    <a:pt x="86" y="70"/>
                    <a:pt x="86" y="70"/>
                  </a:cubicBezTo>
                  <a:cubicBezTo>
                    <a:pt x="87" y="68"/>
                    <a:pt x="86" y="66"/>
                    <a:pt x="85" y="65"/>
                  </a:cubicBezTo>
                  <a:cubicBezTo>
                    <a:pt x="93" y="58"/>
                    <a:pt x="93" y="58"/>
                    <a:pt x="93" y="58"/>
                  </a:cubicBezTo>
                  <a:cubicBezTo>
                    <a:pt x="94" y="58"/>
                    <a:pt x="95" y="59"/>
                    <a:pt x="96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73"/>
                    <a:pt x="97" y="73"/>
                    <a:pt x="97" y="73"/>
                  </a:cubicBezTo>
                  <a:cubicBezTo>
                    <a:pt x="93" y="73"/>
                    <a:pt x="93" y="73"/>
                    <a:pt x="93" y="73"/>
                  </a:cubicBezTo>
                  <a:moveTo>
                    <a:pt x="53" y="71"/>
                  </a:moveTo>
                  <a:cubicBezTo>
                    <a:pt x="52" y="69"/>
                    <a:pt x="52" y="69"/>
                    <a:pt x="52" y="69"/>
                  </a:cubicBezTo>
                  <a:cubicBezTo>
                    <a:pt x="53" y="69"/>
                    <a:pt x="53" y="69"/>
                    <a:pt x="53" y="68"/>
                  </a:cubicBezTo>
                  <a:cubicBezTo>
                    <a:pt x="63" y="46"/>
                    <a:pt x="63" y="46"/>
                    <a:pt x="63" y="4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89" y="51"/>
                    <a:pt x="90" y="53"/>
                    <a:pt x="91" y="55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2" y="62"/>
                    <a:pt x="82" y="62"/>
                    <a:pt x="81" y="61"/>
                  </a:cubicBezTo>
                  <a:cubicBezTo>
                    <a:pt x="80" y="61"/>
                    <a:pt x="79" y="61"/>
                    <a:pt x="79" y="61"/>
                  </a:cubicBezTo>
                  <a:cubicBezTo>
                    <a:pt x="75" y="61"/>
                    <a:pt x="72" y="63"/>
                    <a:pt x="71" y="67"/>
                  </a:cubicBezTo>
                  <a:cubicBezTo>
                    <a:pt x="71" y="67"/>
                    <a:pt x="71" y="67"/>
                    <a:pt x="71" y="68"/>
                  </a:cubicBezTo>
                  <a:cubicBezTo>
                    <a:pt x="53" y="71"/>
                    <a:pt x="53" y="71"/>
                    <a:pt x="53" y="71"/>
                  </a:cubicBezTo>
                  <a:moveTo>
                    <a:pt x="100" y="73"/>
                  </a:moveTo>
                  <a:cubicBezTo>
                    <a:pt x="100" y="59"/>
                    <a:pt x="100" y="59"/>
                    <a:pt x="100" y="59"/>
                  </a:cubicBezTo>
                  <a:cubicBezTo>
                    <a:pt x="103" y="58"/>
                    <a:pt x="106" y="56"/>
                    <a:pt x="107" y="53"/>
                  </a:cubicBezTo>
                  <a:cubicBezTo>
                    <a:pt x="108" y="50"/>
                    <a:pt x="107" y="46"/>
                    <a:pt x="104" y="44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24" y="45"/>
                    <a:pt x="130" y="63"/>
                    <a:pt x="125" y="81"/>
                  </a:cubicBezTo>
                  <a:cubicBezTo>
                    <a:pt x="123" y="91"/>
                    <a:pt x="118" y="99"/>
                    <a:pt x="111" y="105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07" y="87"/>
                    <a:pt x="107" y="87"/>
                    <a:pt x="107" y="87"/>
                  </a:cubicBezTo>
                  <a:cubicBezTo>
                    <a:pt x="106" y="72"/>
                    <a:pt x="106" y="72"/>
                    <a:pt x="106" y="72"/>
                  </a:cubicBezTo>
                  <a:cubicBezTo>
                    <a:pt x="100" y="73"/>
                    <a:pt x="100" y="73"/>
                    <a:pt x="100" y="73"/>
                  </a:cubicBezTo>
                  <a:moveTo>
                    <a:pt x="91" y="46"/>
                  </a:moveTo>
                  <a:cubicBezTo>
                    <a:pt x="75" y="40"/>
                    <a:pt x="75" y="40"/>
                    <a:pt x="75" y="40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6" y="29"/>
                    <a:pt x="107" y="30"/>
                    <a:pt x="108" y="31"/>
                  </a:cubicBezTo>
                  <a:cubicBezTo>
                    <a:pt x="101" y="42"/>
                    <a:pt x="101" y="42"/>
                    <a:pt x="101" y="42"/>
                  </a:cubicBezTo>
                  <a:cubicBezTo>
                    <a:pt x="101" y="42"/>
                    <a:pt x="101" y="42"/>
                    <a:pt x="101" y="42"/>
                  </a:cubicBezTo>
                  <a:cubicBezTo>
                    <a:pt x="100" y="42"/>
                    <a:pt x="99" y="42"/>
                    <a:pt x="98" y="42"/>
                  </a:cubicBezTo>
                  <a:cubicBezTo>
                    <a:pt x="95" y="42"/>
                    <a:pt x="92" y="44"/>
                    <a:pt x="91" y="46"/>
                  </a:cubicBezTo>
                  <a:moveTo>
                    <a:pt x="34" y="86"/>
                  </a:moveTo>
                  <a:cubicBezTo>
                    <a:pt x="30" y="76"/>
                    <a:pt x="29" y="66"/>
                    <a:pt x="32" y="56"/>
                  </a:cubicBezTo>
                  <a:cubicBezTo>
                    <a:pt x="36" y="42"/>
                    <a:pt x="45" y="32"/>
                    <a:pt x="57" y="26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1" y="65"/>
                    <a:pt x="51" y="65"/>
                    <a:pt x="51" y="65"/>
                  </a:cubicBezTo>
                  <a:cubicBezTo>
                    <a:pt x="51" y="64"/>
                    <a:pt x="51" y="64"/>
                    <a:pt x="51" y="64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34" y="86"/>
                    <a:pt x="34" y="86"/>
                    <a:pt x="34" y="86"/>
                  </a:cubicBezTo>
                  <a:moveTo>
                    <a:pt x="63" y="29"/>
                  </a:moveTo>
                  <a:cubicBezTo>
                    <a:pt x="60" y="24"/>
                    <a:pt x="60" y="24"/>
                    <a:pt x="60" y="24"/>
                  </a:cubicBezTo>
                  <a:cubicBezTo>
                    <a:pt x="66" y="22"/>
                    <a:pt x="72" y="21"/>
                    <a:pt x="79" y="21"/>
                  </a:cubicBezTo>
                  <a:cubicBezTo>
                    <a:pt x="83" y="21"/>
                    <a:pt x="87" y="21"/>
                    <a:pt x="91" y="22"/>
                  </a:cubicBezTo>
                  <a:cubicBezTo>
                    <a:pt x="94" y="23"/>
                    <a:pt x="97" y="24"/>
                    <a:pt x="100" y="26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63" y="29"/>
                    <a:pt x="63" y="29"/>
                    <a:pt x="63" y="29"/>
                  </a:cubicBezTo>
                  <a:moveTo>
                    <a:pt x="78" y="0"/>
                  </a:moveTo>
                  <a:cubicBezTo>
                    <a:pt x="52" y="0"/>
                    <a:pt x="28" y="14"/>
                    <a:pt x="16" y="39"/>
                  </a:cubicBezTo>
                  <a:cubicBezTo>
                    <a:pt x="0" y="74"/>
                    <a:pt x="15" y="115"/>
                    <a:pt x="49" y="131"/>
                  </a:cubicBezTo>
                  <a:cubicBezTo>
                    <a:pt x="58" y="135"/>
                    <a:pt x="67" y="137"/>
                    <a:pt x="77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105" y="137"/>
                    <a:pt x="129" y="122"/>
                    <a:pt x="140" y="98"/>
                  </a:cubicBezTo>
                  <a:cubicBezTo>
                    <a:pt x="145" y="89"/>
                    <a:pt x="147" y="79"/>
                    <a:pt x="147" y="70"/>
                  </a:cubicBezTo>
                  <a:cubicBezTo>
                    <a:pt x="147" y="68"/>
                    <a:pt x="147" y="68"/>
                    <a:pt x="147" y="68"/>
                  </a:cubicBezTo>
                  <a:cubicBezTo>
                    <a:pt x="147" y="42"/>
                    <a:pt x="132" y="18"/>
                    <a:pt x="108" y="6"/>
                  </a:cubicBezTo>
                  <a:cubicBezTo>
                    <a:pt x="98" y="2"/>
                    <a:pt x="88" y="0"/>
                    <a:pt x="78" y="0"/>
                  </a:cubicBezTo>
                </a:path>
              </a:pathLst>
            </a:custGeom>
            <a:solidFill>
              <a:srgbClr val="84A2C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2"/>
            <p:cNvSpPr>
              <a:spLocks/>
            </p:cNvSpPr>
            <p:nvPr userDrawn="1"/>
          </p:nvSpPr>
          <p:spPr bwMode="auto">
            <a:xfrm>
              <a:off x="3484" y="638"/>
              <a:ext cx="17" cy="16"/>
            </a:xfrm>
            <a:custGeom>
              <a:avLst/>
              <a:gdLst>
                <a:gd name="T0" fmla="*/ 15 w 17"/>
                <a:gd name="T1" fmla="*/ 0 h 16"/>
                <a:gd name="T2" fmla="*/ 0 w 17"/>
                <a:gd name="T3" fmla="*/ 3 h 16"/>
                <a:gd name="T4" fmla="*/ 3 w 17"/>
                <a:gd name="T5" fmla="*/ 16 h 16"/>
                <a:gd name="T6" fmla="*/ 17 w 17"/>
                <a:gd name="T7" fmla="*/ 14 h 16"/>
                <a:gd name="T8" fmla="*/ 15 w 1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6">
                  <a:moveTo>
                    <a:pt x="15" y="0"/>
                  </a:moveTo>
                  <a:lnTo>
                    <a:pt x="0" y="3"/>
                  </a:lnTo>
                  <a:lnTo>
                    <a:pt x="3" y="16"/>
                  </a:lnTo>
                  <a:lnTo>
                    <a:pt x="17" y="14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455A8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3"/>
            <p:cNvSpPr>
              <a:spLocks/>
            </p:cNvSpPr>
            <p:nvPr userDrawn="1"/>
          </p:nvSpPr>
          <p:spPr bwMode="auto">
            <a:xfrm>
              <a:off x="3484" y="638"/>
              <a:ext cx="17" cy="16"/>
            </a:xfrm>
            <a:custGeom>
              <a:avLst/>
              <a:gdLst>
                <a:gd name="T0" fmla="*/ 15 w 17"/>
                <a:gd name="T1" fmla="*/ 0 h 16"/>
                <a:gd name="T2" fmla="*/ 0 w 17"/>
                <a:gd name="T3" fmla="*/ 3 h 16"/>
                <a:gd name="T4" fmla="*/ 3 w 17"/>
                <a:gd name="T5" fmla="*/ 16 h 16"/>
                <a:gd name="T6" fmla="*/ 17 w 17"/>
                <a:gd name="T7" fmla="*/ 14 h 16"/>
                <a:gd name="T8" fmla="*/ 15 w 1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6">
                  <a:moveTo>
                    <a:pt x="15" y="0"/>
                  </a:moveTo>
                  <a:lnTo>
                    <a:pt x="0" y="3"/>
                  </a:lnTo>
                  <a:lnTo>
                    <a:pt x="3" y="16"/>
                  </a:lnTo>
                  <a:lnTo>
                    <a:pt x="17" y="14"/>
                  </a:lnTo>
                  <a:lnTo>
                    <a:pt x="15" y="0"/>
                  </a:lnTo>
                </a:path>
              </a:pathLst>
            </a:custGeom>
            <a:solidFill>
              <a:srgbClr val="1C64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82" name="Freeform 54"/>
            <p:cNvSpPr>
              <a:spLocks/>
            </p:cNvSpPr>
            <p:nvPr userDrawn="1"/>
          </p:nvSpPr>
          <p:spPr bwMode="auto">
            <a:xfrm>
              <a:off x="3515" y="667"/>
              <a:ext cx="8" cy="10"/>
            </a:xfrm>
            <a:custGeom>
              <a:avLst/>
              <a:gdLst>
                <a:gd name="T0" fmla="*/ 7 w 8"/>
                <a:gd name="T1" fmla="*/ 0 h 10"/>
                <a:gd name="T2" fmla="*/ 0 w 8"/>
                <a:gd name="T3" fmla="*/ 6 h 10"/>
                <a:gd name="T4" fmla="*/ 8 w 8"/>
                <a:gd name="T5" fmla="*/ 10 h 10"/>
                <a:gd name="T6" fmla="*/ 7 w 8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0">
                  <a:moveTo>
                    <a:pt x="7" y="0"/>
                  </a:moveTo>
                  <a:lnTo>
                    <a:pt x="0" y="6"/>
                  </a:lnTo>
                  <a:lnTo>
                    <a:pt x="8" y="1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455A8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55"/>
            <p:cNvSpPr>
              <a:spLocks/>
            </p:cNvSpPr>
            <p:nvPr userDrawn="1"/>
          </p:nvSpPr>
          <p:spPr bwMode="auto">
            <a:xfrm>
              <a:off x="3515" y="667"/>
              <a:ext cx="8" cy="10"/>
            </a:xfrm>
            <a:custGeom>
              <a:avLst/>
              <a:gdLst>
                <a:gd name="T0" fmla="*/ 7 w 8"/>
                <a:gd name="T1" fmla="*/ 0 h 10"/>
                <a:gd name="T2" fmla="*/ 0 w 8"/>
                <a:gd name="T3" fmla="*/ 6 h 10"/>
                <a:gd name="T4" fmla="*/ 8 w 8"/>
                <a:gd name="T5" fmla="*/ 10 h 10"/>
                <a:gd name="T6" fmla="*/ 7 w 8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0">
                  <a:moveTo>
                    <a:pt x="7" y="0"/>
                  </a:moveTo>
                  <a:lnTo>
                    <a:pt x="0" y="6"/>
                  </a:lnTo>
                  <a:lnTo>
                    <a:pt x="8" y="10"/>
                  </a:lnTo>
                  <a:lnTo>
                    <a:pt x="7" y="0"/>
                  </a:lnTo>
                </a:path>
              </a:pathLst>
            </a:custGeom>
            <a:solidFill>
              <a:srgbClr val="1C64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84" name="Freeform 56"/>
            <p:cNvSpPr>
              <a:spLocks noEditPoints="1"/>
            </p:cNvSpPr>
            <p:nvPr userDrawn="1"/>
          </p:nvSpPr>
          <p:spPr bwMode="auto">
            <a:xfrm>
              <a:off x="3442" y="583"/>
              <a:ext cx="129" cy="127"/>
            </a:xfrm>
            <a:custGeom>
              <a:avLst/>
              <a:gdLst>
                <a:gd name="T0" fmla="*/ 110 w 175"/>
                <a:gd name="T1" fmla="*/ 101 h 171"/>
                <a:gd name="T2" fmla="*/ 117 w 175"/>
                <a:gd name="T3" fmla="*/ 108 h 171"/>
                <a:gd name="T4" fmla="*/ 121 w 175"/>
                <a:gd name="T5" fmla="*/ 110 h 171"/>
                <a:gd name="T6" fmla="*/ 124 w 175"/>
                <a:gd name="T7" fmla="*/ 120 h 171"/>
                <a:gd name="T8" fmla="*/ 122 w 175"/>
                <a:gd name="T9" fmla="*/ 126 h 171"/>
                <a:gd name="T10" fmla="*/ 117 w 175"/>
                <a:gd name="T11" fmla="*/ 129 h 171"/>
                <a:gd name="T12" fmla="*/ 111 w 175"/>
                <a:gd name="T13" fmla="*/ 135 h 171"/>
                <a:gd name="T14" fmla="*/ 103 w 175"/>
                <a:gd name="T15" fmla="*/ 135 h 171"/>
                <a:gd name="T16" fmla="*/ 96 w 175"/>
                <a:gd name="T17" fmla="*/ 129 h 171"/>
                <a:gd name="T18" fmla="*/ 92 w 175"/>
                <a:gd name="T19" fmla="*/ 127 h 171"/>
                <a:gd name="T20" fmla="*/ 89 w 175"/>
                <a:gd name="T21" fmla="*/ 116 h 171"/>
                <a:gd name="T22" fmla="*/ 91 w 175"/>
                <a:gd name="T23" fmla="*/ 110 h 171"/>
                <a:gd name="T24" fmla="*/ 96 w 175"/>
                <a:gd name="T25" fmla="*/ 108 h 171"/>
                <a:gd name="T26" fmla="*/ 103 w 175"/>
                <a:gd name="T27" fmla="*/ 102 h 171"/>
                <a:gd name="T28" fmla="*/ 65 w 175"/>
                <a:gd name="T29" fmla="*/ 59 h 171"/>
                <a:gd name="T30" fmla="*/ 79 w 175"/>
                <a:gd name="T31" fmla="*/ 54 h 171"/>
                <a:gd name="T32" fmla="*/ 90 w 175"/>
                <a:gd name="T33" fmla="*/ 61 h 171"/>
                <a:gd name="T34" fmla="*/ 100 w 175"/>
                <a:gd name="T35" fmla="*/ 78 h 171"/>
                <a:gd name="T36" fmla="*/ 101 w 175"/>
                <a:gd name="T37" fmla="*/ 85 h 171"/>
                <a:gd name="T38" fmla="*/ 96 w 175"/>
                <a:gd name="T39" fmla="*/ 103 h 171"/>
                <a:gd name="T40" fmla="*/ 86 w 175"/>
                <a:gd name="T41" fmla="*/ 112 h 171"/>
                <a:gd name="T42" fmla="*/ 73 w 175"/>
                <a:gd name="T43" fmla="*/ 111 h 171"/>
                <a:gd name="T44" fmla="*/ 59 w 175"/>
                <a:gd name="T45" fmla="*/ 116 h 171"/>
                <a:gd name="T46" fmla="*/ 48 w 175"/>
                <a:gd name="T47" fmla="*/ 109 h 171"/>
                <a:gd name="T48" fmla="*/ 38 w 175"/>
                <a:gd name="T49" fmla="*/ 92 h 171"/>
                <a:gd name="T50" fmla="*/ 37 w 175"/>
                <a:gd name="T51" fmla="*/ 85 h 171"/>
                <a:gd name="T52" fmla="*/ 39 w 175"/>
                <a:gd name="T53" fmla="*/ 73 h 171"/>
                <a:gd name="T54" fmla="*/ 47 w 175"/>
                <a:gd name="T55" fmla="*/ 68 h 171"/>
                <a:gd name="T56" fmla="*/ 58 w 175"/>
                <a:gd name="T57" fmla="*/ 55 h 171"/>
                <a:gd name="T58" fmla="*/ 54 w 175"/>
                <a:gd name="T59" fmla="*/ 0 h 171"/>
                <a:gd name="T60" fmla="*/ 0 w 175"/>
                <a:gd name="T61" fmla="*/ 171 h 171"/>
                <a:gd name="T62" fmla="*/ 175 w 175"/>
                <a:gd name="T63" fmla="*/ 132 h 171"/>
                <a:gd name="T64" fmla="*/ 54 w 175"/>
                <a:gd name="T65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5" h="171">
                  <a:moveTo>
                    <a:pt x="106" y="104"/>
                  </a:moveTo>
                  <a:cubicBezTo>
                    <a:pt x="108" y="104"/>
                    <a:pt x="109" y="103"/>
                    <a:pt x="110" y="101"/>
                  </a:cubicBezTo>
                  <a:cubicBezTo>
                    <a:pt x="111" y="102"/>
                    <a:pt x="112" y="102"/>
                    <a:pt x="114" y="103"/>
                  </a:cubicBezTo>
                  <a:cubicBezTo>
                    <a:pt x="113" y="105"/>
                    <a:pt x="115" y="108"/>
                    <a:pt x="117" y="108"/>
                  </a:cubicBezTo>
                  <a:cubicBezTo>
                    <a:pt x="118" y="108"/>
                    <a:pt x="119" y="107"/>
                    <a:pt x="119" y="107"/>
                  </a:cubicBezTo>
                  <a:cubicBezTo>
                    <a:pt x="120" y="108"/>
                    <a:pt x="121" y="109"/>
                    <a:pt x="121" y="110"/>
                  </a:cubicBezTo>
                  <a:cubicBezTo>
                    <a:pt x="119" y="112"/>
                    <a:pt x="119" y="116"/>
                    <a:pt x="124" y="116"/>
                  </a:cubicBezTo>
                  <a:cubicBezTo>
                    <a:pt x="124" y="118"/>
                    <a:pt x="124" y="119"/>
                    <a:pt x="124" y="120"/>
                  </a:cubicBezTo>
                  <a:cubicBezTo>
                    <a:pt x="124" y="120"/>
                    <a:pt x="123" y="120"/>
                    <a:pt x="123" y="120"/>
                  </a:cubicBezTo>
                  <a:cubicBezTo>
                    <a:pt x="120" y="120"/>
                    <a:pt x="119" y="125"/>
                    <a:pt x="122" y="126"/>
                  </a:cubicBezTo>
                  <a:cubicBezTo>
                    <a:pt x="121" y="128"/>
                    <a:pt x="120" y="129"/>
                    <a:pt x="119" y="130"/>
                  </a:cubicBezTo>
                  <a:cubicBezTo>
                    <a:pt x="119" y="129"/>
                    <a:pt x="118" y="129"/>
                    <a:pt x="117" y="129"/>
                  </a:cubicBezTo>
                  <a:cubicBezTo>
                    <a:pt x="115" y="129"/>
                    <a:pt x="113" y="131"/>
                    <a:pt x="114" y="133"/>
                  </a:cubicBezTo>
                  <a:cubicBezTo>
                    <a:pt x="113" y="135"/>
                    <a:pt x="112" y="134"/>
                    <a:pt x="111" y="135"/>
                  </a:cubicBezTo>
                  <a:cubicBezTo>
                    <a:pt x="110" y="133"/>
                    <a:pt x="108" y="132"/>
                    <a:pt x="107" y="132"/>
                  </a:cubicBezTo>
                  <a:cubicBezTo>
                    <a:pt x="105" y="132"/>
                    <a:pt x="104" y="133"/>
                    <a:pt x="103" y="135"/>
                  </a:cubicBezTo>
                  <a:cubicBezTo>
                    <a:pt x="102" y="135"/>
                    <a:pt x="101" y="134"/>
                    <a:pt x="99" y="134"/>
                  </a:cubicBezTo>
                  <a:cubicBezTo>
                    <a:pt x="101" y="131"/>
                    <a:pt x="98" y="129"/>
                    <a:pt x="96" y="129"/>
                  </a:cubicBezTo>
                  <a:cubicBezTo>
                    <a:pt x="95" y="129"/>
                    <a:pt x="95" y="129"/>
                    <a:pt x="94" y="129"/>
                  </a:cubicBezTo>
                  <a:cubicBezTo>
                    <a:pt x="93" y="129"/>
                    <a:pt x="92" y="128"/>
                    <a:pt x="92" y="127"/>
                  </a:cubicBezTo>
                  <a:cubicBezTo>
                    <a:pt x="94" y="125"/>
                    <a:pt x="94" y="120"/>
                    <a:pt x="90" y="120"/>
                  </a:cubicBezTo>
                  <a:cubicBezTo>
                    <a:pt x="89" y="119"/>
                    <a:pt x="89" y="118"/>
                    <a:pt x="89" y="116"/>
                  </a:cubicBezTo>
                  <a:cubicBezTo>
                    <a:pt x="90" y="116"/>
                    <a:pt x="90" y="116"/>
                    <a:pt x="90" y="116"/>
                  </a:cubicBezTo>
                  <a:cubicBezTo>
                    <a:pt x="93" y="116"/>
                    <a:pt x="94" y="112"/>
                    <a:pt x="91" y="110"/>
                  </a:cubicBezTo>
                  <a:cubicBezTo>
                    <a:pt x="92" y="109"/>
                    <a:pt x="93" y="108"/>
                    <a:pt x="94" y="107"/>
                  </a:cubicBezTo>
                  <a:cubicBezTo>
                    <a:pt x="95" y="107"/>
                    <a:pt x="95" y="108"/>
                    <a:pt x="96" y="108"/>
                  </a:cubicBezTo>
                  <a:cubicBezTo>
                    <a:pt x="99" y="108"/>
                    <a:pt x="100" y="105"/>
                    <a:pt x="99" y="103"/>
                  </a:cubicBezTo>
                  <a:cubicBezTo>
                    <a:pt x="100" y="102"/>
                    <a:pt x="101" y="102"/>
                    <a:pt x="103" y="102"/>
                  </a:cubicBezTo>
                  <a:cubicBezTo>
                    <a:pt x="103" y="103"/>
                    <a:pt x="105" y="104"/>
                    <a:pt x="106" y="104"/>
                  </a:cubicBezTo>
                  <a:moveTo>
                    <a:pt x="65" y="59"/>
                  </a:moveTo>
                  <a:cubicBezTo>
                    <a:pt x="68" y="59"/>
                    <a:pt x="71" y="57"/>
                    <a:pt x="71" y="53"/>
                  </a:cubicBezTo>
                  <a:cubicBezTo>
                    <a:pt x="74" y="53"/>
                    <a:pt x="77" y="54"/>
                    <a:pt x="79" y="54"/>
                  </a:cubicBezTo>
                  <a:cubicBezTo>
                    <a:pt x="78" y="59"/>
                    <a:pt x="82" y="63"/>
                    <a:pt x="86" y="63"/>
                  </a:cubicBezTo>
                  <a:cubicBezTo>
                    <a:pt x="87" y="63"/>
                    <a:pt x="89" y="62"/>
                    <a:pt x="90" y="61"/>
                  </a:cubicBezTo>
                  <a:cubicBezTo>
                    <a:pt x="93" y="62"/>
                    <a:pt x="94" y="64"/>
                    <a:pt x="95" y="66"/>
                  </a:cubicBezTo>
                  <a:cubicBezTo>
                    <a:pt x="91" y="70"/>
                    <a:pt x="92" y="78"/>
                    <a:pt x="100" y="78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101" y="80"/>
                    <a:pt x="101" y="83"/>
                    <a:pt x="101" y="85"/>
                  </a:cubicBezTo>
                  <a:cubicBezTo>
                    <a:pt x="94" y="85"/>
                    <a:pt x="93" y="94"/>
                    <a:pt x="99" y="97"/>
                  </a:cubicBezTo>
                  <a:cubicBezTo>
                    <a:pt x="98" y="99"/>
                    <a:pt x="97" y="101"/>
                    <a:pt x="96" y="103"/>
                  </a:cubicBezTo>
                  <a:cubicBezTo>
                    <a:pt x="94" y="103"/>
                    <a:pt x="93" y="102"/>
                    <a:pt x="92" y="102"/>
                  </a:cubicBezTo>
                  <a:cubicBezTo>
                    <a:pt x="87" y="102"/>
                    <a:pt x="84" y="107"/>
                    <a:pt x="86" y="112"/>
                  </a:cubicBezTo>
                  <a:cubicBezTo>
                    <a:pt x="85" y="114"/>
                    <a:pt x="83" y="114"/>
                    <a:pt x="80" y="115"/>
                  </a:cubicBezTo>
                  <a:cubicBezTo>
                    <a:pt x="79" y="113"/>
                    <a:pt x="76" y="111"/>
                    <a:pt x="73" y="111"/>
                  </a:cubicBezTo>
                  <a:cubicBezTo>
                    <a:pt x="70" y="111"/>
                    <a:pt x="67" y="113"/>
                    <a:pt x="67" y="117"/>
                  </a:cubicBezTo>
                  <a:cubicBezTo>
                    <a:pt x="64" y="117"/>
                    <a:pt x="62" y="116"/>
                    <a:pt x="59" y="116"/>
                  </a:cubicBezTo>
                  <a:cubicBezTo>
                    <a:pt x="61" y="111"/>
                    <a:pt x="57" y="107"/>
                    <a:pt x="53" y="107"/>
                  </a:cubicBezTo>
                  <a:cubicBezTo>
                    <a:pt x="51" y="107"/>
                    <a:pt x="49" y="108"/>
                    <a:pt x="48" y="109"/>
                  </a:cubicBezTo>
                  <a:cubicBezTo>
                    <a:pt x="46" y="108"/>
                    <a:pt x="44" y="106"/>
                    <a:pt x="43" y="104"/>
                  </a:cubicBezTo>
                  <a:cubicBezTo>
                    <a:pt x="48" y="100"/>
                    <a:pt x="46" y="92"/>
                    <a:pt x="38" y="92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7" y="90"/>
                    <a:pt x="37" y="87"/>
                    <a:pt x="37" y="85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44" y="85"/>
                    <a:pt x="45" y="75"/>
                    <a:pt x="39" y="73"/>
                  </a:cubicBezTo>
                  <a:cubicBezTo>
                    <a:pt x="40" y="71"/>
                    <a:pt x="42" y="69"/>
                    <a:pt x="43" y="67"/>
                  </a:cubicBezTo>
                  <a:cubicBezTo>
                    <a:pt x="44" y="67"/>
                    <a:pt x="46" y="68"/>
                    <a:pt x="47" y="68"/>
                  </a:cubicBezTo>
                  <a:cubicBezTo>
                    <a:pt x="52" y="68"/>
                    <a:pt x="54" y="63"/>
                    <a:pt x="52" y="58"/>
                  </a:cubicBezTo>
                  <a:cubicBezTo>
                    <a:pt x="53" y="56"/>
                    <a:pt x="56" y="56"/>
                    <a:pt x="58" y="55"/>
                  </a:cubicBezTo>
                  <a:cubicBezTo>
                    <a:pt x="59" y="57"/>
                    <a:pt x="62" y="59"/>
                    <a:pt x="65" y="59"/>
                  </a:cubicBezTo>
                  <a:moveTo>
                    <a:pt x="54" y="0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175" y="132"/>
                    <a:pt x="175" y="132"/>
                    <a:pt x="175" y="132"/>
                  </a:cubicBezTo>
                  <a:cubicBezTo>
                    <a:pt x="175" y="132"/>
                    <a:pt x="175" y="132"/>
                    <a:pt x="175" y="132"/>
                  </a:cubicBezTo>
                  <a:cubicBezTo>
                    <a:pt x="54" y="0"/>
                    <a:pt x="54" y="0"/>
                    <a:pt x="54" y="0"/>
                  </a:cubicBezTo>
                </a:path>
              </a:pathLst>
            </a:custGeom>
            <a:solidFill>
              <a:srgbClr val="1C64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57"/>
            <p:cNvSpPr>
              <a:spLocks noEditPoints="1"/>
            </p:cNvSpPr>
            <p:nvPr userDrawn="1"/>
          </p:nvSpPr>
          <p:spPr bwMode="auto">
            <a:xfrm>
              <a:off x="2777" y="983"/>
              <a:ext cx="215" cy="198"/>
            </a:xfrm>
            <a:custGeom>
              <a:avLst/>
              <a:gdLst>
                <a:gd name="T0" fmla="*/ 183 w 291"/>
                <a:gd name="T1" fmla="*/ 227 h 268"/>
                <a:gd name="T2" fmla="*/ 150 w 291"/>
                <a:gd name="T3" fmla="*/ 226 h 268"/>
                <a:gd name="T4" fmla="*/ 151 w 291"/>
                <a:gd name="T5" fmla="*/ 190 h 268"/>
                <a:gd name="T6" fmla="*/ 184 w 291"/>
                <a:gd name="T7" fmla="*/ 191 h 268"/>
                <a:gd name="T8" fmla="*/ 183 w 291"/>
                <a:gd name="T9" fmla="*/ 227 h 268"/>
                <a:gd name="T10" fmla="*/ 154 w 291"/>
                <a:gd name="T11" fmla="*/ 91 h 268"/>
                <a:gd name="T12" fmla="*/ 155 w 291"/>
                <a:gd name="T13" fmla="*/ 47 h 268"/>
                <a:gd name="T14" fmla="*/ 163 w 291"/>
                <a:gd name="T15" fmla="*/ 46 h 268"/>
                <a:gd name="T16" fmla="*/ 164 w 291"/>
                <a:gd name="T17" fmla="*/ 46 h 268"/>
                <a:gd name="T18" fmla="*/ 218 w 291"/>
                <a:gd name="T19" fmla="*/ 102 h 268"/>
                <a:gd name="T20" fmla="*/ 208 w 291"/>
                <a:gd name="T21" fmla="*/ 132 h 268"/>
                <a:gd name="T22" fmla="*/ 201 w 291"/>
                <a:gd name="T23" fmla="*/ 145 h 268"/>
                <a:gd name="T24" fmla="*/ 195 w 291"/>
                <a:gd name="T25" fmla="*/ 155 h 268"/>
                <a:gd name="T26" fmla="*/ 190 w 291"/>
                <a:gd name="T27" fmla="*/ 174 h 268"/>
                <a:gd name="T28" fmla="*/ 187 w 291"/>
                <a:gd name="T29" fmla="*/ 182 h 268"/>
                <a:gd name="T30" fmla="*/ 182 w 291"/>
                <a:gd name="T31" fmla="*/ 185 h 268"/>
                <a:gd name="T32" fmla="*/ 181 w 291"/>
                <a:gd name="T33" fmla="*/ 185 h 268"/>
                <a:gd name="T34" fmla="*/ 177 w 291"/>
                <a:gd name="T35" fmla="*/ 185 h 268"/>
                <a:gd name="T36" fmla="*/ 172 w 291"/>
                <a:gd name="T37" fmla="*/ 185 h 268"/>
                <a:gd name="T38" fmla="*/ 151 w 291"/>
                <a:gd name="T39" fmla="*/ 184 h 268"/>
                <a:gd name="T40" fmla="*/ 153 w 291"/>
                <a:gd name="T41" fmla="*/ 118 h 268"/>
                <a:gd name="T42" fmla="*/ 178 w 291"/>
                <a:gd name="T43" fmla="*/ 139 h 268"/>
                <a:gd name="T44" fmla="*/ 189 w 291"/>
                <a:gd name="T45" fmla="*/ 78 h 268"/>
                <a:gd name="T46" fmla="*/ 154 w 291"/>
                <a:gd name="T47" fmla="*/ 91 h 268"/>
                <a:gd name="T48" fmla="*/ 113 w 291"/>
                <a:gd name="T49" fmla="*/ 75 h 268"/>
                <a:gd name="T50" fmla="*/ 124 w 291"/>
                <a:gd name="T51" fmla="*/ 71 h 268"/>
                <a:gd name="T52" fmla="*/ 135 w 291"/>
                <a:gd name="T53" fmla="*/ 46 h 268"/>
                <a:gd name="T54" fmla="*/ 135 w 291"/>
                <a:gd name="T55" fmla="*/ 46 h 268"/>
                <a:gd name="T56" fmla="*/ 145 w 291"/>
                <a:gd name="T57" fmla="*/ 46 h 268"/>
                <a:gd name="T58" fmla="*/ 144 w 291"/>
                <a:gd name="T59" fmla="*/ 108 h 268"/>
                <a:gd name="T60" fmla="*/ 143 w 291"/>
                <a:gd name="T61" fmla="*/ 108 h 268"/>
                <a:gd name="T62" fmla="*/ 114 w 291"/>
                <a:gd name="T63" fmla="*/ 136 h 268"/>
                <a:gd name="T64" fmla="*/ 143 w 291"/>
                <a:gd name="T65" fmla="*/ 165 h 268"/>
                <a:gd name="T66" fmla="*/ 143 w 291"/>
                <a:gd name="T67" fmla="*/ 165 h 268"/>
                <a:gd name="T68" fmla="*/ 141 w 291"/>
                <a:gd name="T69" fmla="*/ 227 h 268"/>
                <a:gd name="T70" fmla="*/ 131 w 291"/>
                <a:gd name="T71" fmla="*/ 227 h 268"/>
                <a:gd name="T72" fmla="*/ 120 w 291"/>
                <a:gd name="T73" fmla="*/ 201 h 268"/>
                <a:gd name="T74" fmla="*/ 109 w 291"/>
                <a:gd name="T75" fmla="*/ 197 h 268"/>
                <a:gd name="T76" fmla="*/ 84 w 291"/>
                <a:gd name="T77" fmla="*/ 206 h 268"/>
                <a:gd name="T78" fmla="*/ 84 w 291"/>
                <a:gd name="T79" fmla="*/ 206 h 268"/>
                <a:gd name="T80" fmla="*/ 70 w 291"/>
                <a:gd name="T81" fmla="*/ 192 h 268"/>
                <a:gd name="T82" fmla="*/ 80 w 291"/>
                <a:gd name="T83" fmla="*/ 167 h 268"/>
                <a:gd name="T84" fmla="*/ 76 w 291"/>
                <a:gd name="T85" fmla="*/ 155 h 268"/>
                <a:gd name="T86" fmla="*/ 51 w 291"/>
                <a:gd name="T87" fmla="*/ 144 h 268"/>
                <a:gd name="T88" fmla="*/ 51 w 291"/>
                <a:gd name="T89" fmla="*/ 124 h 268"/>
                <a:gd name="T90" fmla="*/ 77 w 291"/>
                <a:gd name="T91" fmla="*/ 114 h 268"/>
                <a:gd name="T92" fmla="*/ 82 w 291"/>
                <a:gd name="T93" fmla="*/ 103 h 268"/>
                <a:gd name="T94" fmla="*/ 72 w 291"/>
                <a:gd name="T95" fmla="*/ 78 h 268"/>
                <a:gd name="T96" fmla="*/ 87 w 291"/>
                <a:gd name="T97" fmla="*/ 64 h 268"/>
                <a:gd name="T98" fmla="*/ 87 w 291"/>
                <a:gd name="T99" fmla="*/ 64 h 268"/>
                <a:gd name="T100" fmla="*/ 113 w 291"/>
                <a:gd name="T101" fmla="*/ 75 h 268"/>
                <a:gd name="T102" fmla="*/ 145 w 291"/>
                <a:gd name="T103" fmla="*/ 0 h 268"/>
                <a:gd name="T104" fmla="*/ 14 w 291"/>
                <a:gd name="T105" fmla="*/ 108 h 268"/>
                <a:gd name="T106" fmla="*/ 119 w 291"/>
                <a:gd name="T107" fmla="*/ 265 h 268"/>
                <a:gd name="T108" fmla="*/ 144 w 291"/>
                <a:gd name="T109" fmla="*/ 268 h 268"/>
                <a:gd name="T110" fmla="*/ 147 w 291"/>
                <a:gd name="T111" fmla="*/ 268 h 268"/>
                <a:gd name="T112" fmla="*/ 276 w 291"/>
                <a:gd name="T113" fmla="*/ 160 h 268"/>
                <a:gd name="T114" fmla="*/ 171 w 291"/>
                <a:gd name="T115" fmla="*/ 3 h 268"/>
                <a:gd name="T116" fmla="*/ 145 w 291"/>
                <a:gd name="T117" fmla="*/ 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1" h="268">
                  <a:moveTo>
                    <a:pt x="183" y="227"/>
                  </a:moveTo>
                  <a:cubicBezTo>
                    <a:pt x="150" y="226"/>
                    <a:pt x="150" y="226"/>
                    <a:pt x="150" y="226"/>
                  </a:cubicBezTo>
                  <a:cubicBezTo>
                    <a:pt x="151" y="190"/>
                    <a:pt x="151" y="190"/>
                    <a:pt x="151" y="190"/>
                  </a:cubicBezTo>
                  <a:cubicBezTo>
                    <a:pt x="184" y="191"/>
                    <a:pt x="184" y="191"/>
                    <a:pt x="184" y="191"/>
                  </a:cubicBezTo>
                  <a:cubicBezTo>
                    <a:pt x="183" y="227"/>
                    <a:pt x="183" y="227"/>
                    <a:pt x="183" y="227"/>
                  </a:cubicBezTo>
                  <a:moveTo>
                    <a:pt x="154" y="91"/>
                  </a:moveTo>
                  <a:cubicBezTo>
                    <a:pt x="155" y="47"/>
                    <a:pt x="155" y="47"/>
                    <a:pt x="155" y="47"/>
                  </a:cubicBezTo>
                  <a:cubicBezTo>
                    <a:pt x="157" y="46"/>
                    <a:pt x="160" y="46"/>
                    <a:pt x="163" y="46"/>
                  </a:cubicBezTo>
                  <a:cubicBezTo>
                    <a:pt x="163" y="46"/>
                    <a:pt x="164" y="46"/>
                    <a:pt x="164" y="46"/>
                  </a:cubicBezTo>
                  <a:cubicBezTo>
                    <a:pt x="194" y="47"/>
                    <a:pt x="218" y="72"/>
                    <a:pt x="218" y="102"/>
                  </a:cubicBezTo>
                  <a:cubicBezTo>
                    <a:pt x="217" y="113"/>
                    <a:pt x="214" y="123"/>
                    <a:pt x="208" y="132"/>
                  </a:cubicBezTo>
                  <a:cubicBezTo>
                    <a:pt x="201" y="145"/>
                    <a:pt x="201" y="145"/>
                    <a:pt x="201" y="145"/>
                  </a:cubicBezTo>
                  <a:cubicBezTo>
                    <a:pt x="195" y="155"/>
                    <a:pt x="195" y="155"/>
                    <a:pt x="195" y="155"/>
                  </a:cubicBezTo>
                  <a:cubicBezTo>
                    <a:pt x="194" y="157"/>
                    <a:pt x="190" y="166"/>
                    <a:pt x="190" y="174"/>
                  </a:cubicBezTo>
                  <a:cubicBezTo>
                    <a:pt x="190" y="177"/>
                    <a:pt x="189" y="180"/>
                    <a:pt x="187" y="182"/>
                  </a:cubicBezTo>
                  <a:cubicBezTo>
                    <a:pt x="186" y="185"/>
                    <a:pt x="184" y="185"/>
                    <a:pt x="182" y="185"/>
                  </a:cubicBezTo>
                  <a:cubicBezTo>
                    <a:pt x="182" y="185"/>
                    <a:pt x="182" y="185"/>
                    <a:pt x="181" y="185"/>
                  </a:cubicBezTo>
                  <a:cubicBezTo>
                    <a:pt x="180" y="185"/>
                    <a:pt x="179" y="185"/>
                    <a:pt x="177" y="185"/>
                  </a:cubicBezTo>
                  <a:cubicBezTo>
                    <a:pt x="176" y="185"/>
                    <a:pt x="174" y="185"/>
                    <a:pt x="172" y="185"/>
                  </a:cubicBezTo>
                  <a:cubicBezTo>
                    <a:pt x="165" y="184"/>
                    <a:pt x="158" y="184"/>
                    <a:pt x="151" y="184"/>
                  </a:cubicBezTo>
                  <a:cubicBezTo>
                    <a:pt x="153" y="118"/>
                    <a:pt x="153" y="118"/>
                    <a:pt x="153" y="118"/>
                  </a:cubicBezTo>
                  <a:cubicBezTo>
                    <a:pt x="178" y="139"/>
                    <a:pt x="178" y="139"/>
                    <a:pt x="178" y="139"/>
                  </a:cubicBezTo>
                  <a:cubicBezTo>
                    <a:pt x="189" y="78"/>
                    <a:pt x="189" y="78"/>
                    <a:pt x="189" y="78"/>
                  </a:cubicBezTo>
                  <a:cubicBezTo>
                    <a:pt x="154" y="91"/>
                    <a:pt x="154" y="91"/>
                    <a:pt x="154" y="91"/>
                  </a:cubicBezTo>
                  <a:moveTo>
                    <a:pt x="113" y="75"/>
                  </a:moveTo>
                  <a:cubicBezTo>
                    <a:pt x="124" y="71"/>
                    <a:pt x="124" y="71"/>
                    <a:pt x="124" y="71"/>
                  </a:cubicBezTo>
                  <a:cubicBezTo>
                    <a:pt x="124" y="71"/>
                    <a:pt x="134" y="46"/>
                    <a:pt x="135" y="46"/>
                  </a:cubicBezTo>
                  <a:cubicBezTo>
                    <a:pt x="135" y="46"/>
                    <a:pt x="135" y="46"/>
                    <a:pt x="135" y="46"/>
                  </a:cubicBezTo>
                  <a:cubicBezTo>
                    <a:pt x="145" y="46"/>
                    <a:pt x="145" y="46"/>
                    <a:pt x="145" y="46"/>
                  </a:cubicBezTo>
                  <a:cubicBezTo>
                    <a:pt x="144" y="108"/>
                    <a:pt x="144" y="108"/>
                    <a:pt x="144" y="108"/>
                  </a:cubicBezTo>
                  <a:cubicBezTo>
                    <a:pt x="144" y="108"/>
                    <a:pt x="143" y="108"/>
                    <a:pt x="143" y="108"/>
                  </a:cubicBezTo>
                  <a:cubicBezTo>
                    <a:pt x="127" y="108"/>
                    <a:pt x="114" y="120"/>
                    <a:pt x="114" y="136"/>
                  </a:cubicBezTo>
                  <a:cubicBezTo>
                    <a:pt x="113" y="152"/>
                    <a:pt x="126" y="165"/>
                    <a:pt x="143" y="165"/>
                  </a:cubicBezTo>
                  <a:cubicBezTo>
                    <a:pt x="143" y="165"/>
                    <a:pt x="143" y="165"/>
                    <a:pt x="143" y="165"/>
                  </a:cubicBezTo>
                  <a:cubicBezTo>
                    <a:pt x="141" y="227"/>
                    <a:pt x="141" y="227"/>
                    <a:pt x="141" y="227"/>
                  </a:cubicBezTo>
                  <a:cubicBezTo>
                    <a:pt x="131" y="227"/>
                    <a:pt x="131" y="227"/>
                    <a:pt x="131" y="227"/>
                  </a:cubicBezTo>
                  <a:cubicBezTo>
                    <a:pt x="130" y="226"/>
                    <a:pt x="120" y="201"/>
                    <a:pt x="120" y="201"/>
                  </a:cubicBezTo>
                  <a:cubicBezTo>
                    <a:pt x="109" y="197"/>
                    <a:pt x="109" y="197"/>
                    <a:pt x="109" y="197"/>
                  </a:cubicBezTo>
                  <a:cubicBezTo>
                    <a:pt x="109" y="197"/>
                    <a:pt x="87" y="206"/>
                    <a:pt x="84" y="206"/>
                  </a:cubicBezTo>
                  <a:cubicBezTo>
                    <a:pt x="84" y="206"/>
                    <a:pt x="84" y="206"/>
                    <a:pt x="84" y="206"/>
                  </a:cubicBezTo>
                  <a:cubicBezTo>
                    <a:pt x="70" y="192"/>
                    <a:pt x="70" y="192"/>
                    <a:pt x="70" y="192"/>
                  </a:cubicBezTo>
                  <a:cubicBezTo>
                    <a:pt x="69" y="191"/>
                    <a:pt x="80" y="167"/>
                    <a:pt x="80" y="167"/>
                  </a:cubicBezTo>
                  <a:cubicBezTo>
                    <a:pt x="76" y="155"/>
                    <a:pt x="76" y="155"/>
                    <a:pt x="76" y="155"/>
                  </a:cubicBezTo>
                  <a:cubicBezTo>
                    <a:pt x="76" y="155"/>
                    <a:pt x="51" y="146"/>
                    <a:pt x="51" y="144"/>
                  </a:cubicBezTo>
                  <a:cubicBezTo>
                    <a:pt x="51" y="124"/>
                    <a:pt x="51" y="124"/>
                    <a:pt x="51" y="124"/>
                  </a:cubicBezTo>
                  <a:cubicBezTo>
                    <a:pt x="51" y="123"/>
                    <a:pt x="77" y="114"/>
                    <a:pt x="77" y="114"/>
                  </a:cubicBezTo>
                  <a:cubicBezTo>
                    <a:pt x="82" y="103"/>
                    <a:pt x="82" y="103"/>
                    <a:pt x="82" y="103"/>
                  </a:cubicBezTo>
                  <a:cubicBezTo>
                    <a:pt x="82" y="103"/>
                    <a:pt x="71" y="79"/>
                    <a:pt x="72" y="78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90" y="64"/>
                    <a:pt x="113" y="75"/>
                    <a:pt x="113" y="75"/>
                  </a:cubicBezTo>
                  <a:moveTo>
                    <a:pt x="145" y="0"/>
                  </a:moveTo>
                  <a:cubicBezTo>
                    <a:pt x="83" y="0"/>
                    <a:pt x="27" y="44"/>
                    <a:pt x="14" y="108"/>
                  </a:cubicBezTo>
                  <a:cubicBezTo>
                    <a:pt x="0" y="180"/>
                    <a:pt x="47" y="250"/>
                    <a:pt x="119" y="265"/>
                  </a:cubicBezTo>
                  <a:cubicBezTo>
                    <a:pt x="127" y="267"/>
                    <a:pt x="135" y="267"/>
                    <a:pt x="144" y="268"/>
                  </a:cubicBezTo>
                  <a:cubicBezTo>
                    <a:pt x="147" y="268"/>
                    <a:pt x="147" y="268"/>
                    <a:pt x="147" y="268"/>
                  </a:cubicBezTo>
                  <a:cubicBezTo>
                    <a:pt x="209" y="267"/>
                    <a:pt x="264" y="223"/>
                    <a:pt x="276" y="160"/>
                  </a:cubicBezTo>
                  <a:cubicBezTo>
                    <a:pt x="291" y="88"/>
                    <a:pt x="244" y="18"/>
                    <a:pt x="171" y="3"/>
                  </a:cubicBezTo>
                  <a:cubicBezTo>
                    <a:pt x="163" y="1"/>
                    <a:pt x="154" y="0"/>
                    <a:pt x="145" y="0"/>
                  </a:cubicBezTo>
                </a:path>
              </a:pathLst>
            </a:custGeom>
            <a:solidFill>
              <a:srgbClr val="216BB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933825" y="2447466"/>
            <a:ext cx="4953000" cy="142762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44350" indent="0">
              <a:buNone/>
              <a:defRPr>
                <a:solidFill>
                  <a:schemeClr val="bg1"/>
                </a:solidFill>
              </a:defRPr>
            </a:lvl2pPr>
            <a:lvl3pPr marL="587250" indent="0">
              <a:buNone/>
              <a:defRPr>
                <a:solidFill>
                  <a:schemeClr val="bg1"/>
                </a:solidFill>
              </a:defRPr>
            </a:lvl3pPr>
            <a:lvl4pPr marL="930150" indent="0">
              <a:buNone/>
              <a:defRPr>
                <a:solidFill>
                  <a:schemeClr val="bg1"/>
                </a:solidFill>
              </a:defRPr>
            </a:lvl4pPr>
            <a:lvl5pPr marL="127305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</p:txBody>
      </p:sp>
      <p:grpSp>
        <p:nvGrpSpPr>
          <p:cNvPr id="87" name="Group 19"/>
          <p:cNvGrpSpPr>
            <a:grpSpLocks noChangeAspect="1"/>
          </p:cNvGrpSpPr>
          <p:nvPr userDrawn="1"/>
        </p:nvGrpSpPr>
        <p:grpSpPr bwMode="auto">
          <a:xfrm>
            <a:off x="8449097" y="4375544"/>
            <a:ext cx="438164" cy="423513"/>
            <a:chOff x="2074" y="843"/>
            <a:chExt cx="1615" cy="1561"/>
          </a:xfrm>
        </p:grpSpPr>
        <p:sp>
          <p:nvSpPr>
            <p:cNvPr id="88" name="Freeform 20"/>
            <p:cNvSpPr>
              <a:spLocks noEditPoints="1"/>
            </p:cNvSpPr>
            <p:nvPr userDrawn="1"/>
          </p:nvSpPr>
          <p:spPr bwMode="auto">
            <a:xfrm>
              <a:off x="2074" y="1379"/>
              <a:ext cx="1525" cy="442"/>
            </a:xfrm>
            <a:custGeom>
              <a:avLst/>
              <a:gdLst>
                <a:gd name="T0" fmla="*/ 646 w 646"/>
                <a:gd name="T1" fmla="*/ 0 h 187"/>
                <a:gd name="T2" fmla="*/ 0 w 646"/>
                <a:gd name="T3" fmla="*/ 187 h 187"/>
                <a:gd name="T4" fmla="*/ 0 w 646"/>
                <a:gd name="T5" fmla="*/ 0 h 187"/>
                <a:gd name="T6" fmla="*/ 334 w 646"/>
                <a:gd name="T7" fmla="*/ 41 h 187"/>
                <a:gd name="T8" fmla="*/ 298 w 646"/>
                <a:gd name="T9" fmla="*/ 41 h 187"/>
                <a:gd name="T10" fmla="*/ 289 w 646"/>
                <a:gd name="T11" fmla="*/ 66 h 187"/>
                <a:gd name="T12" fmla="*/ 325 w 646"/>
                <a:gd name="T13" fmla="*/ 48 h 187"/>
                <a:gd name="T14" fmla="*/ 316 w 646"/>
                <a:gd name="T15" fmla="*/ 140 h 187"/>
                <a:gd name="T16" fmla="*/ 358 w 646"/>
                <a:gd name="T17" fmla="*/ 144 h 187"/>
                <a:gd name="T18" fmla="*/ 343 w 646"/>
                <a:gd name="T19" fmla="*/ 130 h 187"/>
                <a:gd name="T20" fmla="*/ 343 w 646"/>
                <a:gd name="T21" fmla="*/ 47 h 187"/>
                <a:gd name="T22" fmla="*/ 375 w 646"/>
                <a:gd name="T23" fmla="*/ 66 h 187"/>
                <a:gd name="T24" fmla="*/ 377 w 646"/>
                <a:gd name="T25" fmla="*/ 37 h 187"/>
                <a:gd name="T26" fmla="*/ 207 w 646"/>
                <a:gd name="T27" fmla="*/ 69 h 187"/>
                <a:gd name="T28" fmla="*/ 233 w 646"/>
                <a:gd name="T29" fmla="*/ 141 h 187"/>
                <a:gd name="T30" fmla="*/ 204 w 646"/>
                <a:gd name="T31" fmla="*/ 116 h 187"/>
                <a:gd name="T32" fmla="*/ 270 w 646"/>
                <a:gd name="T33" fmla="*/ 119 h 187"/>
                <a:gd name="T34" fmla="*/ 225 w 646"/>
                <a:gd name="T35" fmla="*/ 69 h 187"/>
                <a:gd name="T36" fmla="*/ 258 w 646"/>
                <a:gd name="T37" fmla="*/ 56 h 187"/>
                <a:gd name="T38" fmla="*/ 266 w 646"/>
                <a:gd name="T39" fmla="*/ 64 h 187"/>
                <a:gd name="T40" fmla="*/ 207 w 646"/>
                <a:gd name="T41" fmla="*/ 69 h 187"/>
                <a:gd name="T42" fmla="*/ 44 w 646"/>
                <a:gd name="T43" fmla="*/ 45 h 187"/>
                <a:gd name="T44" fmla="*/ 58 w 646"/>
                <a:gd name="T45" fmla="*/ 93 h 187"/>
                <a:gd name="T46" fmla="*/ 43 w 646"/>
                <a:gd name="T47" fmla="*/ 144 h 187"/>
                <a:gd name="T48" fmla="*/ 124 w 646"/>
                <a:gd name="T49" fmla="*/ 119 h 187"/>
                <a:gd name="T50" fmla="*/ 93 w 646"/>
                <a:gd name="T51" fmla="*/ 139 h 187"/>
                <a:gd name="T52" fmla="*/ 76 w 646"/>
                <a:gd name="T53" fmla="*/ 92 h 187"/>
                <a:gd name="T54" fmla="*/ 85 w 646"/>
                <a:gd name="T55" fmla="*/ 45 h 187"/>
                <a:gd name="T56" fmla="*/ 44 w 646"/>
                <a:gd name="T57" fmla="*/ 41 h 187"/>
                <a:gd name="T58" fmla="*/ 139 w 646"/>
                <a:gd name="T59" fmla="*/ 42 h 187"/>
                <a:gd name="T60" fmla="*/ 152 w 646"/>
                <a:gd name="T61" fmla="*/ 56 h 187"/>
                <a:gd name="T62" fmla="*/ 152 w 646"/>
                <a:gd name="T63" fmla="*/ 130 h 187"/>
                <a:gd name="T64" fmla="*/ 139 w 646"/>
                <a:gd name="T65" fmla="*/ 142 h 187"/>
                <a:gd name="T66" fmla="*/ 173 w 646"/>
                <a:gd name="T67" fmla="*/ 145 h 187"/>
                <a:gd name="T68" fmla="*/ 173 w 646"/>
                <a:gd name="T69" fmla="*/ 138 h 187"/>
                <a:gd name="T70" fmla="*/ 170 w 646"/>
                <a:gd name="T71" fmla="*/ 94 h 187"/>
                <a:gd name="T72" fmla="*/ 184 w 646"/>
                <a:gd name="T73" fmla="*/ 41 h 187"/>
                <a:gd name="T74" fmla="*/ 139 w 646"/>
                <a:gd name="T75" fmla="*/ 42 h 187"/>
                <a:gd name="T76" fmla="*/ 411 w 646"/>
                <a:gd name="T77" fmla="*/ 67 h 187"/>
                <a:gd name="T78" fmla="*/ 408 w 646"/>
                <a:gd name="T79" fmla="*/ 137 h 187"/>
                <a:gd name="T80" fmla="*/ 395 w 646"/>
                <a:gd name="T81" fmla="*/ 144 h 187"/>
                <a:gd name="T82" fmla="*/ 479 w 646"/>
                <a:gd name="T83" fmla="*/ 119 h 187"/>
                <a:gd name="T84" fmla="*/ 447 w 646"/>
                <a:gd name="T85" fmla="*/ 139 h 187"/>
                <a:gd name="T86" fmla="*/ 428 w 646"/>
                <a:gd name="T87" fmla="*/ 118 h 187"/>
                <a:gd name="T88" fmla="*/ 455 w 646"/>
                <a:gd name="T89" fmla="*/ 96 h 187"/>
                <a:gd name="T90" fmla="*/ 463 w 646"/>
                <a:gd name="T91" fmla="*/ 108 h 187"/>
                <a:gd name="T92" fmla="*/ 458 w 646"/>
                <a:gd name="T93" fmla="*/ 74 h 187"/>
                <a:gd name="T94" fmla="*/ 428 w 646"/>
                <a:gd name="T95" fmla="*/ 87 h 187"/>
                <a:gd name="T96" fmla="*/ 460 w 646"/>
                <a:gd name="T97" fmla="*/ 50 h 187"/>
                <a:gd name="T98" fmla="*/ 471 w 646"/>
                <a:gd name="T99" fmla="*/ 65 h 187"/>
                <a:gd name="T100" fmla="*/ 397 w 646"/>
                <a:gd name="T101" fmla="*/ 41 h 187"/>
                <a:gd name="T102" fmla="*/ 495 w 646"/>
                <a:gd name="T103" fmla="*/ 42 h 187"/>
                <a:gd name="T104" fmla="*/ 506 w 646"/>
                <a:gd name="T105" fmla="*/ 48 h 187"/>
                <a:gd name="T106" fmla="*/ 508 w 646"/>
                <a:gd name="T107" fmla="*/ 117 h 187"/>
                <a:gd name="T108" fmla="*/ 494 w 646"/>
                <a:gd name="T109" fmla="*/ 143 h 187"/>
                <a:gd name="T110" fmla="*/ 533 w 646"/>
                <a:gd name="T111" fmla="*/ 145 h 187"/>
                <a:gd name="T112" fmla="*/ 584 w 646"/>
                <a:gd name="T113" fmla="*/ 51 h 187"/>
                <a:gd name="T114" fmla="*/ 495 w 646"/>
                <a:gd name="T115" fmla="*/ 42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46" h="187">
                  <a:moveTo>
                    <a:pt x="0" y="0"/>
                  </a:moveTo>
                  <a:cubicBezTo>
                    <a:pt x="646" y="0"/>
                    <a:pt x="646" y="0"/>
                    <a:pt x="646" y="0"/>
                  </a:cubicBezTo>
                  <a:cubicBezTo>
                    <a:pt x="646" y="186"/>
                    <a:pt x="646" y="186"/>
                    <a:pt x="646" y="186"/>
                  </a:cubicBezTo>
                  <a:cubicBezTo>
                    <a:pt x="431" y="187"/>
                    <a:pt x="215" y="186"/>
                    <a:pt x="0" y="18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369" y="41"/>
                  </a:moveTo>
                  <a:cubicBezTo>
                    <a:pt x="361" y="43"/>
                    <a:pt x="346" y="41"/>
                    <a:pt x="334" y="41"/>
                  </a:cubicBezTo>
                  <a:cubicBezTo>
                    <a:pt x="316" y="41"/>
                    <a:pt x="316" y="41"/>
                    <a:pt x="316" y="41"/>
                  </a:cubicBezTo>
                  <a:cubicBezTo>
                    <a:pt x="309" y="41"/>
                    <a:pt x="302" y="42"/>
                    <a:pt x="298" y="41"/>
                  </a:cubicBezTo>
                  <a:cubicBezTo>
                    <a:pt x="295" y="40"/>
                    <a:pt x="293" y="36"/>
                    <a:pt x="290" y="37"/>
                  </a:cubicBezTo>
                  <a:cubicBezTo>
                    <a:pt x="289" y="45"/>
                    <a:pt x="288" y="58"/>
                    <a:pt x="289" y="66"/>
                  </a:cubicBezTo>
                  <a:cubicBezTo>
                    <a:pt x="292" y="66"/>
                    <a:pt x="292" y="66"/>
                    <a:pt x="292" y="66"/>
                  </a:cubicBezTo>
                  <a:cubicBezTo>
                    <a:pt x="294" y="50"/>
                    <a:pt x="306" y="44"/>
                    <a:pt x="325" y="48"/>
                  </a:cubicBezTo>
                  <a:cubicBezTo>
                    <a:pt x="325" y="117"/>
                    <a:pt x="325" y="117"/>
                    <a:pt x="325" y="117"/>
                  </a:cubicBezTo>
                  <a:cubicBezTo>
                    <a:pt x="325" y="129"/>
                    <a:pt x="326" y="138"/>
                    <a:pt x="316" y="140"/>
                  </a:cubicBezTo>
                  <a:cubicBezTo>
                    <a:pt x="312" y="141"/>
                    <a:pt x="307" y="139"/>
                    <a:pt x="309" y="144"/>
                  </a:cubicBezTo>
                  <a:cubicBezTo>
                    <a:pt x="324" y="145"/>
                    <a:pt x="344" y="146"/>
                    <a:pt x="358" y="144"/>
                  </a:cubicBezTo>
                  <a:cubicBezTo>
                    <a:pt x="358" y="141"/>
                    <a:pt x="358" y="141"/>
                    <a:pt x="358" y="141"/>
                  </a:cubicBezTo>
                  <a:cubicBezTo>
                    <a:pt x="350" y="140"/>
                    <a:pt x="344" y="139"/>
                    <a:pt x="343" y="130"/>
                  </a:cubicBezTo>
                  <a:cubicBezTo>
                    <a:pt x="341" y="119"/>
                    <a:pt x="343" y="103"/>
                    <a:pt x="343" y="89"/>
                  </a:cubicBezTo>
                  <a:cubicBezTo>
                    <a:pt x="343" y="47"/>
                    <a:pt x="343" y="47"/>
                    <a:pt x="343" y="47"/>
                  </a:cubicBezTo>
                  <a:cubicBezTo>
                    <a:pt x="353" y="48"/>
                    <a:pt x="362" y="46"/>
                    <a:pt x="368" y="50"/>
                  </a:cubicBezTo>
                  <a:cubicBezTo>
                    <a:pt x="373" y="53"/>
                    <a:pt x="372" y="60"/>
                    <a:pt x="375" y="66"/>
                  </a:cubicBezTo>
                  <a:cubicBezTo>
                    <a:pt x="379" y="66"/>
                    <a:pt x="379" y="66"/>
                    <a:pt x="379" y="66"/>
                  </a:cubicBezTo>
                  <a:cubicBezTo>
                    <a:pt x="379" y="57"/>
                    <a:pt x="377" y="45"/>
                    <a:pt x="377" y="37"/>
                  </a:cubicBezTo>
                  <a:cubicBezTo>
                    <a:pt x="375" y="36"/>
                    <a:pt x="373" y="40"/>
                    <a:pt x="369" y="41"/>
                  </a:cubicBezTo>
                  <a:moveTo>
                    <a:pt x="207" y="69"/>
                  </a:moveTo>
                  <a:cubicBezTo>
                    <a:pt x="208" y="96"/>
                    <a:pt x="243" y="97"/>
                    <a:pt x="252" y="113"/>
                  </a:cubicBezTo>
                  <a:cubicBezTo>
                    <a:pt x="259" y="127"/>
                    <a:pt x="250" y="143"/>
                    <a:pt x="233" y="141"/>
                  </a:cubicBezTo>
                  <a:cubicBezTo>
                    <a:pt x="219" y="139"/>
                    <a:pt x="214" y="126"/>
                    <a:pt x="208" y="115"/>
                  </a:cubicBezTo>
                  <a:cubicBezTo>
                    <a:pt x="207" y="116"/>
                    <a:pt x="205" y="116"/>
                    <a:pt x="204" y="116"/>
                  </a:cubicBezTo>
                  <a:cubicBezTo>
                    <a:pt x="204" y="124"/>
                    <a:pt x="207" y="133"/>
                    <a:pt x="208" y="141"/>
                  </a:cubicBezTo>
                  <a:cubicBezTo>
                    <a:pt x="235" y="155"/>
                    <a:pt x="268" y="145"/>
                    <a:pt x="270" y="119"/>
                  </a:cubicBezTo>
                  <a:cubicBezTo>
                    <a:pt x="272" y="106"/>
                    <a:pt x="266" y="97"/>
                    <a:pt x="260" y="92"/>
                  </a:cubicBezTo>
                  <a:cubicBezTo>
                    <a:pt x="249" y="83"/>
                    <a:pt x="232" y="81"/>
                    <a:pt x="225" y="69"/>
                  </a:cubicBezTo>
                  <a:cubicBezTo>
                    <a:pt x="221" y="61"/>
                    <a:pt x="224" y="51"/>
                    <a:pt x="231" y="47"/>
                  </a:cubicBezTo>
                  <a:cubicBezTo>
                    <a:pt x="243" y="40"/>
                    <a:pt x="253" y="48"/>
                    <a:pt x="258" y="56"/>
                  </a:cubicBezTo>
                  <a:cubicBezTo>
                    <a:pt x="258" y="58"/>
                    <a:pt x="260" y="65"/>
                    <a:pt x="262" y="65"/>
                  </a:cubicBezTo>
                  <a:cubicBezTo>
                    <a:pt x="263" y="65"/>
                    <a:pt x="264" y="64"/>
                    <a:pt x="266" y="64"/>
                  </a:cubicBezTo>
                  <a:cubicBezTo>
                    <a:pt x="266" y="58"/>
                    <a:pt x="263" y="50"/>
                    <a:pt x="263" y="42"/>
                  </a:cubicBezTo>
                  <a:cubicBezTo>
                    <a:pt x="238" y="32"/>
                    <a:pt x="207" y="41"/>
                    <a:pt x="207" y="69"/>
                  </a:cubicBezTo>
                  <a:moveTo>
                    <a:pt x="44" y="42"/>
                  </a:moveTo>
                  <a:cubicBezTo>
                    <a:pt x="44" y="45"/>
                    <a:pt x="44" y="45"/>
                    <a:pt x="44" y="45"/>
                  </a:cubicBezTo>
                  <a:cubicBezTo>
                    <a:pt x="59" y="43"/>
                    <a:pt x="58" y="57"/>
                    <a:pt x="58" y="71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58" y="106"/>
                    <a:pt x="61" y="135"/>
                    <a:pt x="53" y="139"/>
                  </a:cubicBezTo>
                  <a:cubicBezTo>
                    <a:pt x="49" y="141"/>
                    <a:pt x="42" y="138"/>
                    <a:pt x="43" y="144"/>
                  </a:cubicBezTo>
                  <a:cubicBezTo>
                    <a:pt x="67" y="146"/>
                    <a:pt x="94" y="144"/>
                    <a:pt x="118" y="145"/>
                  </a:cubicBezTo>
                  <a:cubicBezTo>
                    <a:pt x="120" y="136"/>
                    <a:pt x="123" y="128"/>
                    <a:pt x="124" y="119"/>
                  </a:cubicBezTo>
                  <a:cubicBezTo>
                    <a:pt x="118" y="116"/>
                    <a:pt x="118" y="121"/>
                    <a:pt x="117" y="124"/>
                  </a:cubicBezTo>
                  <a:cubicBezTo>
                    <a:pt x="113" y="135"/>
                    <a:pt x="107" y="139"/>
                    <a:pt x="93" y="139"/>
                  </a:cubicBezTo>
                  <a:cubicBezTo>
                    <a:pt x="84" y="139"/>
                    <a:pt x="77" y="138"/>
                    <a:pt x="76" y="127"/>
                  </a:cubicBezTo>
                  <a:cubicBezTo>
                    <a:pt x="75" y="117"/>
                    <a:pt x="76" y="104"/>
                    <a:pt x="76" y="92"/>
                  </a:cubicBezTo>
                  <a:cubicBezTo>
                    <a:pt x="76" y="79"/>
                    <a:pt x="75" y="66"/>
                    <a:pt x="76" y="56"/>
                  </a:cubicBezTo>
                  <a:cubicBezTo>
                    <a:pt x="76" y="48"/>
                    <a:pt x="79" y="47"/>
                    <a:pt x="85" y="45"/>
                  </a:cubicBezTo>
                  <a:cubicBezTo>
                    <a:pt x="87" y="45"/>
                    <a:pt x="91" y="47"/>
                    <a:pt x="90" y="42"/>
                  </a:cubicBezTo>
                  <a:cubicBezTo>
                    <a:pt x="76" y="40"/>
                    <a:pt x="59" y="41"/>
                    <a:pt x="44" y="41"/>
                  </a:cubicBezTo>
                  <a:cubicBezTo>
                    <a:pt x="44" y="41"/>
                    <a:pt x="44" y="41"/>
                    <a:pt x="44" y="42"/>
                  </a:cubicBezTo>
                  <a:moveTo>
                    <a:pt x="139" y="42"/>
                  </a:moveTo>
                  <a:cubicBezTo>
                    <a:pt x="139" y="45"/>
                    <a:pt x="139" y="45"/>
                    <a:pt x="139" y="45"/>
                  </a:cubicBezTo>
                  <a:cubicBezTo>
                    <a:pt x="147" y="45"/>
                    <a:pt x="151" y="47"/>
                    <a:pt x="152" y="56"/>
                  </a:cubicBezTo>
                  <a:cubicBezTo>
                    <a:pt x="153" y="66"/>
                    <a:pt x="152" y="78"/>
                    <a:pt x="152" y="93"/>
                  </a:cubicBezTo>
                  <a:cubicBezTo>
                    <a:pt x="152" y="106"/>
                    <a:pt x="153" y="120"/>
                    <a:pt x="152" y="130"/>
                  </a:cubicBezTo>
                  <a:cubicBezTo>
                    <a:pt x="152" y="132"/>
                    <a:pt x="151" y="136"/>
                    <a:pt x="151" y="137"/>
                  </a:cubicBezTo>
                  <a:cubicBezTo>
                    <a:pt x="148" y="140"/>
                    <a:pt x="139" y="140"/>
                    <a:pt x="139" y="142"/>
                  </a:cubicBezTo>
                  <a:cubicBezTo>
                    <a:pt x="138" y="143"/>
                    <a:pt x="139" y="143"/>
                    <a:pt x="139" y="144"/>
                  </a:cubicBezTo>
                  <a:cubicBezTo>
                    <a:pt x="146" y="146"/>
                    <a:pt x="162" y="145"/>
                    <a:pt x="173" y="145"/>
                  </a:cubicBezTo>
                  <a:cubicBezTo>
                    <a:pt x="177" y="145"/>
                    <a:pt x="186" y="147"/>
                    <a:pt x="184" y="141"/>
                  </a:cubicBezTo>
                  <a:cubicBezTo>
                    <a:pt x="181" y="140"/>
                    <a:pt x="175" y="140"/>
                    <a:pt x="173" y="138"/>
                  </a:cubicBezTo>
                  <a:cubicBezTo>
                    <a:pt x="170" y="135"/>
                    <a:pt x="170" y="124"/>
                    <a:pt x="170" y="118"/>
                  </a:cubicBezTo>
                  <a:cubicBezTo>
                    <a:pt x="170" y="94"/>
                    <a:pt x="170" y="94"/>
                    <a:pt x="170" y="94"/>
                  </a:cubicBezTo>
                  <a:cubicBezTo>
                    <a:pt x="170" y="82"/>
                    <a:pt x="167" y="53"/>
                    <a:pt x="173" y="48"/>
                  </a:cubicBezTo>
                  <a:cubicBezTo>
                    <a:pt x="176" y="44"/>
                    <a:pt x="186" y="47"/>
                    <a:pt x="184" y="41"/>
                  </a:cubicBezTo>
                  <a:cubicBezTo>
                    <a:pt x="170" y="40"/>
                    <a:pt x="154" y="41"/>
                    <a:pt x="139" y="41"/>
                  </a:cubicBezTo>
                  <a:cubicBezTo>
                    <a:pt x="139" y="41"/>
                    <a:pt x="139" y="41"/>
                    <a:pt x="139" y="42"/>
                  </a:cubicBezTo>
                  <a:moveTo>
                    <a:pt x="397" y="45"/>
                  </a:moveTo>
                  <a:cubicBezTo>
                    <a:pt x="410" y="44"/>
                    <a:pt x="410" y="53"/>
                    <a:pt x="411" y="67"/>
                  </a:cubicBezTo>
                  <a:cubicBezTo>
                    <a:pt x="411" y="83"/>
                    <a:pt x="411" y="99"/>
                    <a:pt x="411" y="115"/>
                  </a:cubicBezTo>
                  <a:cubicBezTo>
                    <a:pt x="411" y="123"/>
                    <a:pt x="411" y="134"/>
                    <a:pt x="408" y="137"/>
                  </a:cubicBezTo>
                  <a:cubicBezTo>
                    <a:pt x="405" y="141"/>
                    <a:pt x="398" y="139"/>
                    <a:pt x="395" y="141"/>
                  </a:cubicBezTo>
                  <a:cubicBezTo>
                    <a:pt x="395" y="144"/>
                    <a:pt x="395" y="144"/>
                    <a:pt x="395" y="144"/>
                  </a:cubicBezTo>
                  <a:cubicBezTo>
                    <a:pt x="421" y="145"/>
                    <a:pt x="448" y="145"/>
                    <a:pt x="474" y="145"/>
                  </a:cubicBezTo>
                  <a:cubicBezTo>
                    <a:pt x="476" y="137"/>
                    <a:pt x="478" y="128"/>
                    <a:pt x="479" y="119"/>
                  </a:cubicBezTo>
                  <a:cubicBezTo>
                    <a:pt x="473" y="116"/>
                    <a:pt x="473" y="123"/>
                    <a:pt x="471" y="127"/>
                  </a:cubicBezTo>
                  <a:cubicBezTo>
                    <a:pt x="467" y="136"/>
                    <a:pt x="460" y="139"/>
                    <a:pt x="447" y="139"/>
                  </a:cubicBezTo>
                  <a:cubicBezTo>
                    <a:pt x="444" y="139"/>
                    <a:pt x="436" y="139"/>
                    <a:pt x="432" y="137"/>
                  </a:cubicBezTo>
                  <a:cubicBezTo>
                    <a:pt x="428" y="135"/>
                    <a:pt x="428" y="125"/>
                    <a:pt x="428" y="118"/>
                  </a:cubicBezTo>
                  <a:cubicBezTo>
                    <a:pt x="428" y="109"/>
                    <a:pt x="428" y="101"/>
                    <a:pt x="428" y="94"/>
                  </a:cubicBezTo>
                  <a:cubicBezTo>
                    <a:pt x="437" y="96"/>
                    <a:pt x="449" y="92"/>
                    <a:pt x="455" y="96"/>
                  </a:cubicBezTo>
                  <a:cubicBezTo>
                    <a:pt x="458" y="99"/>
                    <a:pt x="456" y="104"/>
                    <a:pt x="459" y="108"/>
                  </a:cubicBezTo>
                  <a:cubicBezTo>
                    <a:pt x="463" y="108"/>
                    <a:pt x="463" y="108"/>
                    <a:pt x="463" y="108"/>
                  </a:cubicBezTo>
                  <a:cubicBezTo>
                    <a:pt x="463" y="74"/>
                    <a:pt x="463" y="74"/>
                    <a:pt x="463" y="74"/>
                  </a:cubicBezTo>
                  <a:cubicBezTo>
                    <a:pt x="458" y="74"/>
                    <a:pt x="458" y="74"/>
                    <a:pt x="458" y="74"/>
                  </a:cubicBezTo>
                  <a:cubicBezTo>
                    <a:pt x="457" y="79"/>
                    <a:pt x="458" y="84"/>
                    <a:pt x="454" y="86"/>
                  </a:cubicBezTo>
                  <a:cubicBezTo>
                    <a:pt x="448" y="89"/>
                    <a:pt x="436" y="86"/>
                    <a:pt x="428" y="87"/>
                  </a:cubicBezTo>
                  <a:cubicBezTo>
                    <a:pt x="429" y="76"/>
                    <a:pt x="426" y="57"/>
                    <a:pt x="430" y="47"/>
                  </a:cubicBezTo>
                  <a:cubicBezTo>
                    <a:pt x="441" y="48"/>
                    <a:pt x="453" y="45"/>
                    <a:pt x="460" y="50"/>
                  </a:cubicBezTo>
                  <a:cubicBezTo>
                    <a:pt x="465" y="53"/>
                    <a:pt x="464" y="60"/>
                    <a:pt x="468" y="65"/>
                  </a:cubicBezTo>
                  <a:cubicBezTo>
                    <a:pt x="469" y="66"/>
                    <a:pt x="469" y="65"/>
                    <a:pt x="471" y="65"/>
                  </a:cubicBezTo>
                  <a:cubicBezTo>
                    <a:pt x="471" y="58"/>
                    <a:pt x="470" y="48"/>
                    <a:pt x="469" y="41"/>
                  </a:cubicBezTo>
                  <a:cubicBezTo>
                    <a:pt x="397" y="41"/>
                    <a:pt x="397" y="41"/>
                    <a:pt x="397" y="41"/>
                  </a:cubicBezTo>
                  <a:cubicBezTo>
                    <a:pt x="396" y="41"/>
                    <a:pt x="397" y="44"/>
                    <a:pt x="397" y="45"/>
                  </a:cubicBezTo>
                  <a:moveTo>
                    <a:pt x="495" y="42"/>
                  </a:moveTo>
                  <a:cubicBezTo>
                    <a:pt x="495" y="45"/>
                    <a:pt x="495" y="45"/>
                    <a:pt x="495" y="45"/>
                  </a:cubicBezTo>
                  <a:cubicBezTo>
                    <a:pt x="498" y="46"/>
                    <a:pt x="504" y="45"/>
                    <a:pt x="506" y="48"/>
                  </a:cubicBezTo>
                  <a:cubicBezTo>
                    <a:pt x="509" y="52"/>
                    <a:pt x="508" y="62"/>
                    <a:pt x="508" y="70"/>
                  </a:cubicBezTo>
                  <a:cubicBezTo>
                    <a:pt x="508" y="117"/>
                    <a:pt x="508" y="117"/>
                    <a:pt x="508" y="117"/>
                  </a:cubicBezTo>
                  <a:cubicBezTo>
                    <a:pt x="508" y="131"/>
                    <a:pt x="509" y="138"/>
                    <a:pt x="499" y="140"/>
                  </a:cubicBezTo>
                  <a:cubicBezTo>
                    <a:pt x="498" y="141"/>
                    <a:pt x="493" y="139"/>
                    <a:pt x="494" y="143"/>
                  </a:cubicBezTo>
                  <a:cubicBezTo>
                    <a:pt x="494" y="146"/>
                    <a:pt x="495" y="145"/>
                    <a:pt x="497" y="145"/>
                  </a:cubicBezTo>
                  <a:cubicBezTo>
                    <a:pt x="508" y="146"/>
                    <a:pt x="523" y="145"/>
                    <a:pt x="533" y="145"/>
                  </a:cubicBezTo>
                  <a:cubicBezTo>
                    <a:pt x="573" y="145"/>
                    <a:pt x="602" y="127"/>
                    <a:pt x="601" y="88"/>
                  </a:cubicBezTo>
                  <a:cubicBezTo>
                    <a:pt x="601" y="71"/>
                    <a:pt x="593" y="58"/>
                    <a:pt x="584" y="51"/>
                  </a:cubicBezTo>
                  <a:cubicBezTo>
                    <a:pt x="564" y="37"/>
                    <a:pt x="530" y="42"/>
                    <a:pt x="496" y="41"/>
                  </a:cubicBezTo>
                  <a:cubicBezTo>
                    <a:pt x="495" y="41"/>
                    <a:pt x="495" y="41"/>
                    <a:pt x="495" y="42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21"/>
            <p:cNvSpPr>
              <a:spLocks/>
            </p:cNvSpPr>
            <p:nvPr userDrawn="1"/>
          </p:nvSpPr>
          <p:spPr bwMode="auto">
            <a:xfrm>
              <a:off x="3311" y="1478"/>
              <a:ext cx="135" cy="229"/>
            </a:xfrm>
            <a:custGeom>
              <a:avLst/>
              <a:gdLst>
                <a:gd name="T0" fmla="*/ 3 w 57"/>
                <a:gd name="T1" fmla="*/ 6 h 97"/>
                <a:gd name="T2" fmla="*/ 57 w 57"/>
                <a:gd name="T3" fmla="*/ 51 h 97"/>
                <a:gd name="T4" fmla="*/ 22 w 57"/>
                <a:gd name="T5" fmla="*/ 97 h 97"/>
                <a:gd name="T6" fmla="*/ 6 w 57"/>
                <a:gd name="T7" fmla="*/ 94 h 97"/>
                <a:gd name="T8" fmla="*/ 2 w 57"/>
                <a:gd name="T9" fmla="*/ 51 h 97"/>
                <a:gd name="T10" fmla="*/ 3 w 57"/>
                <a:gd name="T11" fmla="*/ 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97">
                  <a:moveTo>
                    <a:pt x="3" y="6"/>
                  </a:moveTo>
                  <a:cubicBezTo>
                    <a:pt x="38" y="0"/>
                    <a:pt x="57" y="18"/>
                    <a:pt x="57" y="51"/>
                  </a:cubicBezTo>
                  <a:cubicBezTo>
                    <a:pt x="57" y="74"/>
                    <a:pt x="46" y="94"/>
                    <a:pt x="22" y="97"/>
                  </a:cubicBezTo>
                  <a:cubicBezTo>
                    <a:pt x="16" y="97"/>
                    <a:pt x="9" y="97"/>
                    <a:pt x="6" y="94"/>
                  </a:cubicBezTo>
                  <a:cubicBezTo>
                    <a:pt x="0" y="89"/>
                    <a:pt x="2" y="62"/>
                    <a:pt x="2" y="51"/>
                  </a:cubicBezTo>
                  <a:cubicBezTo>
                    <a:pt x="2" y="35"/>
                    <a:pt x="1" y="20"/>
                    <a:pt x="3" y="6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22"/>
            <p:cNvSpPr>
              <a:spLocks/>
            </p:cNvSpPr>
            <p:nvPr userDrawn="1"/>
          </p:nvSpPr>
          <p:spPr bwMode="auto">
            <a:xfrm>
              <a:off x="2914" y="1903"/>
              <a:ext cx="321" cy="501"/>
            </a:xfrm>
            <a:custGeom>
              <a:avLst/>
              <a:gdLst>
                <a:gd name="T0" fmla="*/ 123 w 136"/>
                <a:gd name="T1" fmla="*/ 13 h 212"/>
                <a:gd name="T2" fmla="*/ 123 w 136"/>
                <a:gd name="T3" fmla="*/ 43 h 212"/>
                <a:gd name="T4" fmla="*/ 46 w 136"/>
                <a:gd name="T5" fmla="*/ 44 h 212"/>
                <a:gd name="T6" fmla="*/ 44 w 136"/>
                <a:gd name="T7" fmla="*/ 64 h 212"/>
                <a:gd name="T8" fmla="*/ 75 w 136"/>
                <a:gd name="T9" fmla="*/ 85 h 212"/>
                <a:gd name="T10" fmla="*/ 132 w 136"/>
                <a:gd name="T11" fmla="*/ 133 h 212"/>
                <a:gd name="T12" fmla="*/ 129 w 136"/>
                <a:gd name="T13" fmla="*/ 176 h 212"/>
                <a:gd name="T14" fmla="*/ 77 w 136"/>
                <a:gd name="T15" fmla="*/ 209 h 212"/>
                <a:gd name="T16" fmla="*/ 5 w 136"/>
                <a:gd name="T17" fmla="*/ 200 h 212"/>
                <a:gd name="T18" fmla="*/ 5 w 136"/>
                <a:gd name="T19" fmla="*/ 170 h 212"/>
                <a:gd name="T20" fmla="*/ 90 w 136"/>
                <a:gd name="T21" fmla="*/ 166 h 212"/>
                <a:gd name="T22" fmla="*/ 91 w 136"/>
                <a:gd name="T23" fmla="*/ 146 h 212"/>
                <a:gd name="T24" fmla="*/ 51 w 136"/>
                <a:gd name="T25" fmla="*/ 119 h 212"/>
                <a:gd name="T26" fmla="*/ 2 w 136"/>
                <a:gd name="T27" fmla="*/ 57 h 212"/>
                <a:gd name="T28" fmla="*/ 24 w 136"/>
                <a:gd name="T29" fmla="*/ 18 h 212"/>
                <a:gd name="T30" fmla="*/ 123 w 136"/>
                <a:gd name="T31" fmla="*/ 1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6" h="212">
                  <a:moveTo>
                    <a:pt x="123" y="13"/>
                  </a:moveTo>
                  <a:cubicBezTo>
                    <a:pt x="123" y="43"/>
                    <a:pt x="123" y="43"/>
                    <a:pt x="123" y="43"/>
                  </a:cubicBezTo>
                  <a:cubicBezTo>
                    <a:pt x="104" y="36"/>
                    <a:pt x="59" y="24"/>
                    <a:pt x="46" y="44"/>
                  </a:cubicBezTo>
                  <a:cubicBezTo>
                    <a:pt x="43" y="49"/>
                    <a:pt x="42" y="57"/>
                    <a:pt x="44" y="64"/>
                  </a:cubicBezTo>
                  <a:cubicBezTo>
                    <a:pt x="48" y="74"/>
                    <a:pt x="64" y="80"/>
                    <a:pt x="75" y="85"/>
                  </a:cubicBezTo>
                  <a:cubicBezTo>
                    <a:pt x="99" y="96"/>
                    <a:pt x="124" y="106"/>
                    <a:pt x="132" y="133"/>
                  </a:cubicBezTo>
                  <a:cubicBezTo>
                    <a:pt x="136" y="145"/>
                    <a:pt x="135" y="163"/>
                    <a:pt x="129" y="176"/>
                  </a:cubicBezTo>
                  <a:cubicBezTo>
                    <a:pt x="120" y="194"/>
                    <a:pt x="100" y="206"/>
                    <a:pt x="77" y="209"/>
                  </a:cubicBezTo>
                  <a:cubicBezTo>
                    <a:pt x="52" y="212"/>
                    <a:pt x="27" y="207"/>
                    <a:pt x="5" y="200"/>
                  </a:cubicBezTo>
                  <a:cubicBezTo>
                    <a:pt x="5" y="170"/>
                    <a:pt x="5" y="170"/>
                    <a:pt x="5" y="170"/>
                  </a:cubicBezTo>
                  <a:cubicBezTo>
                    <a:pt x="27" y="178"/>
                    <a:pt x="79" y="190"/>
                    <a:pt x="90" y="166"/>
                  </a:cubicBezTo>
                  <a:cubicBezTo>
                    <a:pt x="93" y="161"/>
                    <a:pt x="94" y="153"/>
                    <a:pt x="91" y="146"/>
                  </a:cubicBezTo>
                  <a:cubicBezTo>
                    <a:pt x="86" y="133"/>
                    <a:pt x="64" y="126"/>
                    <a:pt x="51" y="119"/>
                  </a:cubicBezTo>
                  <a:cubicBezTo>
                    <a:pt x="26" y="107"/>
                    <a:pt x="0" y="94"/>
                    <a:pt x="2" y="57"/>
                  </a:cubicBezTo>
                  <a:cubicBezTo>
                    <a:pt x="3" y="38"/>
                    <a:pt x="12" y="27"/>
                    <a:pt x="24" y="18"/>
                  </a:cubicBezTo>
                  <a:cubicBezTo>
                    <a:pt x="47" y="2"/>
                    <a:pt x="94" y="0"/>
                    <a:pt x="123" y="13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23"/>
            <p:cNvSpPr>
              <a:spLocks/>
            </p:cNvSpPr>
            <p:nvPr userDrawn="1"/>
          </p:nvSpPr>
          <p:spPr bwMode="auto">
            <a:xfrm>
              <a:off x="2074" y="1920"/>
              <a:ext cx="377" cy="472"/>
            </a:xfrm>
            <a:custGeom>
              <a:avLst/>
              <a:gdLst>
                <a:gd name="T0" fmla="*/ 0 w 160"/>
                <a:gd name="T1" fmla="*/ 0 h 200"/>
                <a:gd name="T2" fmla="*/ 60 w 160"/>
                <a:gd name="T3" fmla="*/ 0 h 200"/>
                <a:gd name="T4" fmla="*/ 122 w 160"/>
                <a:gd name="T5" fmla="*/ 144 h 200"/>
                <a:gd name="T6" fmla="*/ 123 w 160"/>
                <a:gd name="T7" fmla="*/ 0 h 200"/>
                <a:gd name="T8" fmla="*/ 160 w 160"/>
                <a:gd name="T9" fmla="*/ 0 h 200"/>
                <a:gd name="T10" fmla="*/ 160 w 160"/>
                <a:gd name="T11" fmla="*/ 200 h 200"/>
                <a:gd name="T12" fmla="*/ 107 w 160"/>
                <a:gd name="T13" fmla="*/ 200 h 200"/>
                <a:gd name="T14" fmla="*/ 37 w 160"/>
                <a:gd name="T15" fmla="*/ 43 h 200"/>
                <a:gd name="T16" fmla="*/ 37 w 160"/>
                <a:gd name="T17" fmla="*/ 200 h 200"/>
                <a:gd name="T18" fmla="*/ 0 w 160"/>
                <a:gd name="T19" fmla="*/ 200 h 200"/>
                <a:gd name="T20" fmla="*/ 0 w 160"/>
                <a:gd name="T21" fmla="*/ 1 h 200"/>
                <a:gd name="T22" fmla="*/ 0 w 160"/>
                <a:gd name="T23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0" h="200">
                  <a:moveTo>
                    <a:pt x="0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81" y="48"/>
                    <a:pt x="102" y="95"/>
                    <a:pt x="122" y="144"/>
                  </a:cubicBezTo>
                  <a:cubicBezTo>
                    <a:pt x="123" y="97"/>
                    <a:pt x="123" y="48"/>
                    <a:pt x="123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60" y="200"/>
                    <a:pt x="160" y="200"/>
                    <a:pt x="160" y="200"/>
                  </a:cubicBezTo>
                  <a:cubicBezTo>
                    <a:pt x="107" y="200"/>
                    <a:pt x="107" y="200"/>
                    <a:pt x="107" y="200"/>
                  </a:cubicBezTo>
                  <a:cubicBezTo>
                    <a:pt x="83" y="149"/>
                    <a:pt x="61" y="95"/>
                    <a:pt x="37" y="43"/>
                  </a:cubicBezTo>
                  <a:cubicBezTo>
                    <a:pt x="37" y="200"/>
                    <a:pt x="37" y="200"/>
                    <a:pt x="37" y="200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24"/>
            <p:cNvSpPr>
              <a:spLocks/>
            </p:cNvSpPr>
            <p:nvPr userDrawn="1"/>
          </p:nvSpPr>
          <p:spPr bwMode="auto">
            <a:xfrm>
              <a:off x="2489" y="1920"/>
              <a:ext cx="416" cy="472"/>
            </a:xfrm>
            <a:custGeom>
              <a:avLst/>
              <a:gdLst>
                <a:gd name="T0" fmla="*/ 48 w 176"/>
                <a:gd name="T1" fmla="*/ 0 h 200"/>
                <a:gd name="T2" fmla="*/ 92 w 176"/>
                <a:gd name="T3" fmla="*/ 88 h 200"/>
                <a:gd name="T4" fmla="*/ 136 w 176"/>
                <a:gd name="T5" fmla="*/ 0 h 200"/>
                <a:gd name="T6" fmla="*/ 176 w 176"/>
                <a:gd name="T7" fmla="*/ 0 h 200"/>
                <a:gd name="T8" fmla="*/ 117 w 176"/>
                <a:gd name="T9" fmla="*/ 109 h 200"/>
                <a:gd name="T10" fmla="*/ 109 w 176"/>
                <a:gd name="T11" fmla="*/ 125 h 200"/>
                <a:gd name="T12" fmla="*/ 109 w 176"/>
                <a:gd name="T13" fmla="*/ 144 h 200"/>
                <a:gd name="T14" fmla="*/ 109 w 176"/>
                <a:gd name="T15" fmla="*/ 200 h 200"/>
                <a:gd name="T16" fmla="*/ 66 w 176"/>
                <a:gd name="T17" fmla="*/ 200 h 200"/>
                <a:gd name="T18" fmla="*/ 66 w 176"/>
                <a:gd name="T19" fmla="*/ 143 h 200"/>
                <a:gd name="T20" fmla="*/ 66 w 176"/>
                <a:gd name="T21" fmla="*/ 124 h 200"/>
                <a:gd name="T22" fmla="*/ 58 w 176"/>
                <a:gd name="T23" fmla="*/ 108 h 200"/>
                <a:gd name="T24" fmla="*/ 1 w 176"/>
                <a:gd name="T25" fmla="*/ 0 h 200"/>
                <a:gd name="T26" fmla="*/ 2 w 176"/>
                <a:gd name="T27" fmla="*/ 0 h 200"/>
                <a:gd name="T28" fmla="*/ 48 w 176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6" h="200">
                  <a:moveTo>
                    <a:pt x="48" y="0"/>
                  </a:moveTo>
                  <a:cubicBezTo>
                    <a:pt x="63" y="29"/>
                    <a:pt x="77" y="58"/>
                    <a:pt x="92" y="88"/>
                  </a:cubicBezTo>
                  <a:cubicBezTo>
                    <a:pt x="107" y="59"/>
                    <a:pt x="121" y="29"/>
                    <a:pt x="136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57" y="36"/>
                    <a:pt x="137" y="72"/>
                    <a:pt x="117" y="109"/>
                  </a:cubicBezTo>
                  <a:cubicBezTo>
                    <a:pt x="115" y="114"/>
                    <a:pt x="110" y="120"/>
                    <a:pt x="109" y="125"/>
                  </a:cubicBezTo>
                  <a:cubicBezTo>
                    <a:pt x="108" y="130"/>
                    <a:pt x="109" y="137"/>
                    <a:pt x="109" y="144"/>
                  </a:cubicBezTo>
                  <a:cubicBezTo>
                    <a:pt x="109" y="200"/>
                    <a:pt x="109" y="200"/>
                    <a:pt x="109" y="200"/>
                  </a:cubicBezTo>
                  <a:cubicBezTo>
                    <a:pt x="66" y="200"/>
                    <a:pt x="66" y="200"/>
                    <a:pt x="66" y="200"/>
                  </a:cubicBezTo>
                  <a:cubicBezTo>
                    <a:pt x="66" y="143"/>
                    <a:pt x="66" y="143"/>
                    <a:pt x="66" y="143"/>
                  </a:cubicBezTo>
                  <a:cubicBezTo>
                    <a:pt x="66" y="137"/>
                    <a:pt x="67" y="130"/>
                    <a:pt x="66" y="124"/>
                  </a:cubicBezTo>
                  <a:cubicBezTo>
                    <a:pt x="66" y="120"/>
                    <a:pt x="61" y="113"/>
                    <a:pt x="58" y="108"/>
                  </a:cubicBezTo>
                  <a:cubicBezTo>
                    <a:pt x="39" y="73"/>
                    <a:pt x="19" y="36"/>
                    <a:pt x="1" y="0"/>
                  </a:cubicBezTo>
                  <a:cubicBezTo>
                    <a:pt x="0" y="0"/>
                    <a:pt x="2" y="0"/>
                    <a:pt x="2" y="0"/>
                  </a:cubicBez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5"/>
            <p:cNvSpPr>
              <a:spLocks/>
            </p:cNvSpPr>
            <p:nvPr userDrawn="1"/>
          </p:nvSpPr>
          <p:spPr bwMode="auto">
            <a:xfrm>
              <a:off x="3304" y="1918"/>
              <a:ext cx="297" cy="474"/>
            </a:xfrm>
            <a:custGeom>
              <a:avLst/>
              <a:gdLst>
                <a:gd name="T0" fmla="*/ 1 w 126"/>
                <a:gd name="T1" fmla="*/ 1 h 201"/>
                <a:gd name="T2" fmla="*/ 122 w 126"/>
                <a:gd name="T3" fmla="*/ 1 h 201"/>
                <a:gd name="T4" fmla="*/ 122 w 126"/>
                <a:gd name="T5" fmla="*/ 29 h 201"/>
                <a:gd name="T6" fmla="*/ 42 w 126"/>
                <a:gd name="T7" fmla="*/ 30 h 201"/>
                <a:gd name="T8" fmla="*/ 41 w 126"/>
                <a:gd name="T9" fmla="*/ 83 h 201"/>
                <a:gd name="T10" fmla="*/ 115 w 126"/>
                <a:gd name="T11" fmla="*/ 83 h 201"/>
                <a:gd name="T12" fmla="*/ 115 w 126"/>
                <a:gd name="T13" fmla="*/ 112 h 201"/>
                <a:gd name="T14" fmla="*/ 42 w 126"/>
                <a:gd name="T15" fmla="*/ 112 h 201"/>
                <a:gd name="T16" fmla="*/ 41 w 126"/>
                <a:gd name="T17" fmla="*/ 173 h 201"/>
                <a:gd name="T18" fmla="*/ 125 w 126"/>
                <a:gd name="T19" fmla="*/ 173 h 201"/>
                <a:gd name="T20" fmla="*/ 125 w 126"/>
                <a:gd name="T21" fmla="*/ 201 h 201"/>
                <a:gd name="T22" fmla="*/ 1 w 126"/>
                <a:gd name="T23" fmla="*/ 201 h 201"/>
                <a:gd name="T24" fmla="*/ 1 w 126"/>
                <a:gd name="T25" fmla="*/ 2 h 201"/>
                <a:gd name="T26" fmla="*/ 1 w 126"/>
                <a:gd name="T27" fmla="*/ 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6" h="201">
                  <a:moveTo>
                    <a:pt x="1" y="1"/>
                  </a:moveTo>
                  <a:cubicBezTo>
                    <a:pt x="41" y="1"/>
                    <a:pt x="82" y="0"/>
                    <a:pt x="122" y="1"/>
                  </a:cubicBezTo>
                  <a:cubicBezTo>
                    <a:pt x="122" y="29"/>
                    <a:pt x="122" y="29"/>
                    <a:pt x="122" y="29"/>
                  </a:cubicBezTo>
                  <a:cubicBezTo>
                    <a:pt x="96" y="30"/>
                    <a:pt x="69" y="29"/>
                    <a:pt x="42" y="30"/>
                  </a:cubicBezTo>
                  <a:cubicBezTo>
                    <a:pt x="41" y="46"/>
                    <a:pt x="43" y="66"/>
                    <a:pt x="41" y="83"/>
                  </a:cubicBezTo>
                  <a:cubicBezTo>
                    <a:pt x="65" y="84"/>
                    <a:pt x="90" y="83"/>
                    <a:pt x="115" y="83"/>
                  </a:cubicBezTo>
                  <a:cubicBezTo>
                    <a:pt x="115" y="112"/>
                    <a:pt x="115" y="112"/>
                    <a:pt x="115" y="112"/>
                  </a:cubicBezTo>
                  <a:cubicBezTo>
                    <a:pt x="42" y="112"/>
                    <a:pt x="42" y="112"/>
                    <a:pt x="42" y="112"/>
                  </a:cubicBezTo>
                  <a:cubicBezTo>
                    <a:pt x="41" y="131"/>
                    <a:pt x="43" y="154"/>
                    <a:pt x="41" y="173"/>
                  </a:cubicBezTo>
                  <a:cubicBezTo>
                    <a:pt x="125" y="173"/>
                    <a:pt x="125" y="173"/>
                    <a:pt x="125" y="173"/>
                  </a:cubicBezTo>
                  <a:cubicBezTo>
                    <a:pt x="126" y="181"/>
                    <a:pt x="125" y="192"/>
                    <a:pt x="125" y="201"/>
                  </a:cubicBezTo>
                  <a:cubicBezTo>
                    <a:pt x="1" y="201"/>
                    <a:pt x="1" y="201"/>
                    <a:pt x="1" y="20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0" y="1"/>
                    <a:pt x="1" y="1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6"/>
            <p:cNvSpPr>
              <a:spLocks noEditPoints="1"/>
            </p:cNvSpPr>
            <p:nvPr userDrawn="1"/>
          </p:nvSpPr>
          <p:spPr bwMode="auto">
            <a:xfrm>
              <a:off x="3606" y="2322"/>
              <a:ext cx="83" cy="82"/>
            </a:xfrm>
            <a:custGeom>
              <a:avLst/>
              <a:gdLst>
                <a:gd name="T0" fmla="*/ 14 w 35"/>
                <a:gd name="T1" fmla="*/ 2 h 35"/>
                <a:gd name="T2" fmla="*/ 32 w 35"/>
                <a:gd name="T3" fmla="*/ 16 h 35"/>
                <a:gd name="T4" fmla="*/ 4 w 35"/>
                <a:gd name="T5" fmla="*/ 22 h 35"/>
                <a:gd name="T6" fmla="*/ 14 w 35"/>
                <a:gd name="T7" fmla="*/ 2 h 35"/>
                <a:gd name="T8" fmla="*/ 6 w 35"/>
                <a:gd name="T9" fmla="*/ 20 h 35"/>
                <a:gd name="T10" fmla="*/ 28 w 35"/>
                <a:gd name="T11" fmla="*/ 10 h 35"/>
                <a:gd name="T12" fmla="*/ 15 w 35"/>
                <a:gd name="T13" fmla="*/ 4 h 35"/>
                <a:gd name="T14" fmla="*/ 6 w 35"/>
                <a:gd name="T15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35">
                  <a:moveTo>
                    <a:pt x="14" y="2"/>
                  </a:moveTo>
                  <a:cubicBezTo>
                    <a:pt x="24" y="0"/>
                    <a:pt x="32" y="7"/>
                    <a:pt x="32" y="16"/>
                  </a:cubicBezTo>
                  <a:cubicBezTo>
                    <a:pt x="31" y="31"/>
                    <a:pt x="10" y="35"/>
                    <a:pt x="4" y="22"/>
                  </a:cubicBezTo>
                  <a:cubicBezTo>
                    <a:pt x="0" y="13"/>
                    <a:pt x="4" y="4"/>
                    <a:pt x="14" y="2"/>
                  </a:cubicBezTo>
                  <a:moveTo>
                    <a:pt x="6" y="20"/>
                  </a:moveTo>
                  <a:cubicBezTo>
                    <a:pt x="11" y="34"/>
                    <a:pt x="35" y="26"/>
                    <a:pt x="28" y="10"/>
                  </a:cubicBezTo>
                  <a:cubicBezTo>
                    <a:pt x="26" y="6"/>
                    <a:pt x="21" y="3"/>
                    <a:pt x="15" y="4"/>
                  </a:cubicBezTo>
                  <a:cubicBezTo>
                    <a:pt x="8" y="6"/>
                    <a:pt x="4" y="13"/>
                    <a:pt x="6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7"/>
            <p:cNvSpPr>
              <a:spLocks noEditPoints="1"/>
            </p:cNvSpPr>
            <p:nvPr userDrawn="1"/>
          </p:nvSpPr>
          <p:spPr bwMode="auto">
            <a:xfrm>
              <a:off x="3632" y="2338"/>
              <a:ext cx="33" cy="45"/>
            </a:xfrm>
            <a:custGeom>
              <a:avLst/>
              <a:gdLst>
                <a:gd name="T0" fmla="*/ 1 w 14"/>
                <a:gd name="T1" fmla="*/ 0 h 19"/>
                <a:gd name="T2" fmla="*/ 12 w 14"/>
                <a:gd name="T3" fmla="*/ 2 h 19"/>
                <a:gd name="T4" fmla="*/ 9 w 14"/>
                <a:gd name="T5" fmla="*/ 10 h 19"/>
                <a:gd name="T6" fmla="*/ 13 w 14"/>
                <a:gd name="T7" fmla="*/ 16 h 19"/>
                <a:gd name="T8" fmla="*/ 4 w 14"/>
                <a:gd name="T9" fmla="*/ 10 h 19"/>
                <a:gd name="T10" fmla="*/ 3 w 14"/>
                <a:gd name="T11" fmla="*/ 17 h 19"/>
                <a:gd name="T12" fmla="*/ 0 w 14"/>
                <a:gd name="T13" fmla="*/ 17 h 19"/>
                <a:gd name="T14" fmla="*/ 1 w 14"/>
                <a:gd name="T15" fmla="*/ 0 h 19"/>
                <a:gd name="T16" fmla="*/ 3 w 14"/>
                <a:gd name="T17" fmla="*/ 8 h 19"/>
                <a:gd name="T18" fmla="*/ 10 w 14"/>
                <a:gd name="T19" fmla="*/ 4 h 19"/>
                <a:gd name="T20" fmla="*/ 3 w 14"/>
                <a:gd name="T21" fmla="*/ 2 h 19"/>
                <a:gd name="T22" fmla="*/ 3 w 14"/>
                <a:gd name="T2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9">
                  <a:moveTo>
                    <a:pt x="1" y="0"/>
                  </a:moveTo>
                  <a:cubicBezTo>
                    <a:pt x="5" y="0"/>
                    <a:pt x="9" y="0"/>
                    <a:pt x="12" y="2"/>
                  </a:cubicBezTo>
                  <a:cubicBezTo>
                    <a:pt x="14" y="5"/>
                    <a:pt x="13" y="10"/>
                    <a:pt x="9" y="10"/>
                  </a:cubicBezTo>
                  <a:cubicBezTo>
                    <a:pt x="10" y="12"/>
                    <a:pt x="12" y="14"/>
                    <a:pt x="13" y="16"/>
                  </a:cubicBezTo>
                  <a:cubicBezTo>
                    <a:pt x="7" y="19"/>
                    <a:pt x="9" y="9"/>
                    <a:pt x="4" y="10"/>
                  </a:cubicBezTo>
                  <a:cubicBezTo>
                    <a:pt x="3" y="11"/>
                    <a:pt x="4" y="15"/>
                    <a:pt x="3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" y="12"/>
                    <a:pt x="0" y="4"/>
                    <a:pt x="1" y="0"/>
                  </a:cubicBezTo>
                  <a:moveTo>
                    <a:pt x="3" y="8"/>
                  </a:moveTo>
                  <a:cubicBezTo>
                    <a:pt x="7" y="8"/>
                    <a:pt x="11" y="8"/>
                    <a:pt x="10" y="4"/>
                  </a:cubicBezTo>
                  <a:cubicBezTo>
                    <a:pt x="9" y="2"/>
                    <a:pt x="6" y="2"/>
                    <a:pt x="3" y="2"/>
                  </a:cubicBezTo>
                  <a:lnTo>
                    <a:pt x="3" y="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8"/>
            <p:cNvSpPr>
              <a:spLocks/>
            </p:cNvSpPr>
            <p:nvPr userDrawn="1"/>
          </p:nvSpPr>
          <p:spPr bwMode="auto">
            <a:xfrm>
              <a:off x="2099" y="847"/>
              <a:ext cx="303" cy="428"/>
            </a:xfrm>
            <a:custGeom>
              <a:avLst/>
              <a:gdLst>
                <a:gd name="T0" fmla="*/ 0 w 303"/>
                <a:gd name="T1" fmla="*/ 428 h 428"/>
                <a:gd name="T2" fmla="*/ 0 w 303"/>
                <a:gd name="T3" fmla="*/ 0 h 428"/>
                <a:gd name="T4" fmla="*/ 88 w 303"/>
                <a:gd name="T5" fmla="*/ 0 h 428"/>
                <a:gd name="T6" fmla="*/ 88 w 303"/>
                <a:gd name="T7" fmla="*/ 355 h 428"/>
                <a:gd name="T8" fmla="*/ 303 w 303"/>
                <a:gd name="T9" fmla="*/ 355 h 428"/>
                <a:gd name="T10" fmla="*/ 303 w 303"/>
                <a:gd name="T11" fmla="*/ 428 h 428"/>
                <a:gd name="T12" fmla="*/ 0 w 303"/>
                <a:gd name="T13" fmla="*/ 428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3" h="428">
                  <a:moveTo>
                    <a:pt x="0" y="428"/>
                  </a:moveTo>
                  <a:lnTo>
                    <a:pt x="0" y="0"/>
                  </a:lnTo>
                  <a:lnTo>
                    <a:pt x="88" y="0"/>
                  </a:lnTo>
                  <a:lnTo>
                    <a:pt x="88" y="355"/>
                  </a:lnTo>
                  <a:lnTo>
                    <a:pt x="303" y="355"/>
                  </a:lnTo>
                  <a:lnTo>
                    <a:pt x="303" y="428"/>
                  </a:lnTo>
                  <a:lnTo>
                    <a:pt x="0" y="42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9"/>
            <p:cNvSpPr>
              <a:spLocks/>
            </p:cNvSpPr>
            <p:nvPr userDrawn="1"/>
          </p:nvSpPr>
          <p:spPr bwMode="auto">
            <a:xfrm>
              <a:off x="2444" y="843"/>
              <a:ext cx="399" cy="432"/>
            </a:xfrm>
            <a:custGeom>
              <a:avLst/>
              <a:gdLst>
                <a:gd name="T0" fmla="*/ 0 w 399"/>
                <a:gd name="T1" fmla="*/ 432 h 432"/>
                <a:gd name="T2" fmla="*/ 147 w 399"/>
                <a:gd name="T3" fmla="*/ 205 h 432"/>
                <a:gd name="T4" fmla="*/ 14 w 399"/>
                <a:gd name="T5" fmla="*/ 0 h 432"/>
                <a:gd name="T6" fmla="*/ 116 w 399"/>
                <a:gd name="T7" fmla="*/ 0 h 432"/>
                <a:gd name="T8" fmla="*/ 201 w 399"/>
                <a:gd name="T9" fmla="*/ 139 h 432"/>
                <a:gd name="T10" fmla="*/ 286 w 399"/>
                <a:gd name="T11" fmla="*/ 0 h 432"/>
                <a:gd name="T12" fmla="*/ 388 w 399"/>
                <a:gd name="T13" fmla="*/ 0 h 432"/>
                <a:gd name="T14" fmla="*/ 253 w 399"/>
                <a:gd name="T15" fmla="*/ 210 h 432"/>
                <a:gd name="T16" fmla="*/ 399 w 399"/>
                <a:gd name="T17" fmla="*/ 432 h 432"/>
                <a:gd name="T18" fmla="*/ 295 w 399"/>
                <a:gd name="T19" fmla="*/ 432 h 432"/>
                <a:gd name="T20" fmla="*/ 201 w 399"/>
                <a:gd name="T21" fmla="*/ 283 h 432"/>
                <a:gd name="T22" fmla="*/ 104 w 399"/>
                <a:gd name="T23" fmla="*/ 432 h 432"/>
                <a:gd name="T24" fmla="*/ 0 w 399"/>
                <a:gd name="T25" fmla="*/ 43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9" h="432">
                  <a:moveTo>
                    <a:pt x="0" y="432"/>
                  </a:moveTo>
                  <a:lnTo>
                    <a:pt x="147" y="205"/>
                  </a:lnTo>
                  <a:lnTo>
                    <a:pt x="14" y="0"/>
                  </a:lnTo>
                  <a:lnTo>
                    <a:pt x="116" y="0"/>
                  </a:lnTo>
                  <a:lnTo>
                    <a:pt x="201" y="139"/>
                  </a:lnTo>
                  <a:lnTo>
                    <a:pt x="286" y="0"/>
                  </a:lnTo>
                  <a:lnTo>
                    <a:pt x="388" y="0"/>
                  </a:lnTo>
                  <a:lnTo>
                    <a:pt x="253" y="210"/>
                  </a:lnTo>
                  <a:lnTo>
                    <a:pt x="399" y="432"/>
                  </a:lnTo>
                  <a:lnTo>
                    <a:pt x="295" y="432"/>
                  </a:lnTo>
                  <a:lnTo>
                    <a:pt x="201" y="283"/>
                  </a:lnTo>
                  <a:lnTo>
                    <a:pt x="104" y="432"/>
                  </a:lnTo>
                  <a:lnTo>
                    <a:pt x="0" y="43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30"/>
            <p:cNvSpPr>
              <a:spLocks/>
            </p:cNvSpPr>
            <p:nvPr userDrawn="1"/>
          </p:nvSpPr>
          <p:spPr bwMode="auto">
            <a:xfrm>
              <a:off x="2914" y="843"/>
              <a:ext cx="295" cy="432"/>
            </a:xfrm>
            <a:custGeom>
              <a:avLst/>
              <a:gdLst>
                <a:gd name="T0" fmla="*/ 0 w 295"/>
                <a:gd name="T1" fmla="*/ 432 h 432"/>
                <a:gd name="T2" fmla="*/ 0 w 295"/>
                <a:gd name="T3" fmla="*/ 0 h 432"/>
                <a:gd name="T4" fmla="*/ 295 w 295"/>
                <a:gd name="T5" fmla="*/ 0 h 432"/>
                <a:gd name="T6" fmla="*/ 295 w 295"/>
                <a:gd name="T7" fmla="*/ 73 h 432"/>
                <a:gd name="T8" fmla="*/ 88 w 295"/>
                <a:gd name="T9" fmla="*/ 73 h 432"/>
                <a:gd name="T10" fmla="*/ 88 w 295"/>
                <a:gd name="T11" fmla="*/ 174 h 432"/>
                <a:gd name="T12" fmla="*/ 267 w 295"/>
                <a:gd name="T13" fmla="*/ 174 h 432"/>
                <a:gd name="T14" fmla="*/ 267 w 295"/>
                <a:gd name="T15" fmla="*/ 248 h 432"/>
                <a:gd name="T16" fmla="*/ 88 w 295"/>
                <a:gd name="T17" fmla="*/ 248 h 432"/>
                <a:gd name="T18" fmla="*/ 88 w 295"/>
                <a:gd name="T19" fmla="*/ 432 h 432"/>
                <a:gd name="T20" fmla="*/ 0 w 295"/>
                <a:gd name="T21" fmla="*/ 43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5" h="432">
                  <a:moveTo>
                    <a:pt x="0" y="432"/>
                  </a:moveTo>
                  <a:lnTo>
                    <a:pt x="0" y="0"/>
                  </a:lnTo>
                  <a:lnTo>
                    <a:pt x="295" y="0"/>
                  </a:lnTo>
                  <a:lnTo>
                    <a:pt x="295" y="73"/>
                  </a:lnTo>
                  <a:lnTo>
                    <a:pt x="88" y="73"/>
                  </a:lnTo>
                  <a:lnTo>
                    <a:pt x="88" y="174"/>
                  </a:lnTo>
                  <a:lnTo>
                    <a:pt x="267" y="174"/>
                  </a:lnTo>
                  <a:lnTo>
                    <a:pt x="267" y="248"/>
                  </a:lnTo>
                  <a:lnTo>
                    <a:pt x="88" y="248"/>
                  </a:lnTo>
                  <a:lnTo>
                    <a:pt x="88" y="432"/>
                  </a:lnTo>
                  <a:lnTo>
                    <a:pt x="0" y="43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31"/>
            <p:cNvSpPr>
              <a:spLocks/>
            </p:cNvSpPr>
            <p:nvPr userDrawn="1"/>
          </p:nvSpPr>
          <p:spPr bwMode="auto">
            <a:xfrm>
              <a:off x="3273" y="843"/>
              <a:ext cx="343" cy="432"/>
            </a:xfrm>
            <a:custGeom>
              <a:avLst/>
              <a:gdLst>
                <a:gd name="T0" fmla="*/ 128 w 343"/>
                <a:gd name="T1" fmla="*/ 432 h 432"/>
                <a:gd name="T2" fmla="*/ 128 w 343"/>
                <a:gd name="T3" fmla="*/ 73 h 432"/>
                <a:gd name="T4" fmla="*/ 0 w 343"/>
                <a:gd name="T5" fmla="*/ 73 h 432"/>
                <a:gd name="T6" fmla="*/ 0 w 343"/>
                <a:gd name="T7" fmla="*/ 0 h 432"/>
                <a:gd name="T8" fmla="*/ 343 w 343"/>
                <a:gd name="T9" fmla="*/ 0 h 432"/>
                <a:gd name="T10" fmla="*/ 343 w 343"/>
                <a:gd name="T11" fmla="*/ 73 h 432"/>
                <a:gd name="T12" fmla="*/ 215 w 343"/>
                <a:gd name="T13" fmla="*/ 73 h 432"/>
                <a:gd name="T14" fmla="*/ 215 w 343"/>
                <a:gd name="T15" fmla="*/ 432 h 432"/>
                <a:gd name="T16" fmla="*/ 128 w 343"/>
                <a:gd name="T17" fmla="*/ 43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432">
                  <a:moveTo>
                    <a:pt x="128" y="432"/>
                  </a:moveTo>
                  <a:lnTo>
                    <a:pt x="128" y="73"/>
                  </a:lnTo>
                  <a:lnTo>
                    <a:pt x="0" y="73"/>
                  </a:lnTo>
                  <a:lnTo>
                    <a:pt x="0" y="0"/>
                  </a:lnTo>
                  <a:lnTo>
                    <a:pt x="343" y="0"/>
                  </a:lnTo>
                  <a:lnTo>
                    <a:pt x="343" y="73"/>
                  </a:lnTo>
                  <a:lnTo>
                    <a:pt x="215" y="73"/>
                  </a:lnTo>
                  <a:lnTo>
                    <a:pt x="215" y="432"/>
                  </a:lnTo>
                  <a:lnTo>
                    <a:pt x="128" y="43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0" name="Group 17"/>
          <p:cNvGrpSpPr>
            <a:grpSpLocks noChangeAspect="1"/>
          </p:cNvGrpSpPr>
          <p:nvPr userDrawn="1"/>
        </p:nvGrpSpPr>
        <p:grpSpPr bwMode="auto">
          <a:xfrm>
            <a:off x="540741" y="4337362"/>
            <a:ext cx="984248" cy="509810"/>
            <a:chOff x="5172" y="892"/>
            <a:chExt cx="1892" cy="980"/>
          </a:xfrm>
        </p:grpSpPr>
        <p:sp>
          <p:nvSpPr>
            <p:cNvPr id="101" name="AutoShape 16"/>
            <p:cNvSpPr>
              <a:spLocks noChangeAspect="1" noChangeArrowheads="1" noTextEdit="1"/>
            </p:cNvSpPr>
            <p:nvPr userDrawn="1"/>
          </p:nvSpPr>
          <p:spPr bwMode="auto">
            <a:xfrm>
              <a:off x="5172" y="892"/>
              <a:ext cx="1892" cy="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18"/>
            <p:cNvSpPr>
              <a:spLocks noEditPoints="1"/>
            </p:cNvSpPr>
            <p:nvPr userDrawn="1"/>
          </p:nvSpPr>
          <p:spPr bwMode="auto">
            <a:xfrm>
              <a:off x="5936" y="1250"/>
              <a:ext cx="345" cy="268"/>
            </a:xfrm>
            <a:custGeom>
              <a:avLst/>
              <a:gdLst>
                <a:gd name="T0" fmla="*/ 953 w 1033"/>
                <a:gd name="T1" fmla="*/ 717 h 803"/>
                <a:gd name="T2" fmla="*/ 965 w 1033"/>
                <a:gd name="T3" fmla="*/ 74 h 803"/>
                <a:gd name="T4" fmla="*/ 993 w 1033"/>
                <a:gd name="T5" fmla="*/ 0 h 803"/>
                <a:gd name="T6" fmla="*/ 626 w 1033"/>
                <a:gd name="T7" fmla="*/ 0 h 803"/>
                <a:gd name="T8" fmla="*/ 662 w 1033"/>
                <a:gd name="T9" fmla="*/ 77 h 803"/>
                <a:gd name="T10" fmla="*/ 521 w 1033"/>
                <a:gd name="T11" fmla="*/ 283 h 803"/>
                <a:gd name="T12" fmla="*/ 428 w 1033"/>
                <a:gd name="T13" fmla="*/ 69 h 803"/>
                <a:gd name="T14" fmla="*/ 428 w 1033"/>
                <a:gd name="T15" fmla="*/ 69 h 803"/>
                <a:gd name="T16" fmla="*/ 32 w 1033"/>
                <a:gd name="T17" fmla="*/ 0 h 803"/>
                <a:gd name="T18" fmla="*/ 32 w 1033"/>
                <a:gd name="T19" fmla="*/ 0 h 803"/>
                <a:gd name="T20" fmla="*/ 81 w 1033"/>
                <a:gd name="T21" fmla="*/ 79 h 803"/>
                <a:gd name="T22" fmla="*/ 98 w 1033"/>
                <a:gd name="T23" fmla="*/ 713 h 803"/>
                <a:gd name="T24" fmla="*/ 428 w 1033"/>
                <a:gd name="T25" fmla="*/ 390 h 803"/>
                <a:gd name="T26" fmla="*/ 98 w 1033"/>
                <a:gd name="T27" fmla="*/ 713 h 803"/>
                <a:gd name="T28" fmla="*/ 9 w 1033"/>
                <a:gd name="T29" fmla="*/ 733 h 803"/>
                <a:gd name="T30" fmla="*/ 0 w 1033"/>
                <a:gd name="T31" fmla="*/ 803 h 803"/>
                <a:gd name="T32" fmla="*/ 385 w 1033"/>
                <a:gd name="T33" fmla="*/ 803 h 803"/>
                <a:gd name="T34" fmla="*/ 385 w 1033"/>
                <a:gd name="T35" fmla="*/ 734 h 803"/>
                <a:gd name="T36" fmla="*/ 328 w 1033"/>
                <a:gd name="T37" fmla="*/ 722 h 803"/>
                <a:gd name="T38" fmla="*/ 280 w 1033"/>
                <a:gd name="T39" fmla="*/ 712 h 803"/>
                <a:gd name="T40" fmla="*/ 538 w 1033"/>
                <a:gd name="T41" fmla="*/ 505 h 803"/>
                <a:gd name="T42" fmla="*/ 525 w 1033"/>
                <a:gd name="T43" fmla="*/ 520 h 803"/>
                <a:gd name="T44" fmla="*/ 633 w 1033"/>
                <a:gd name="T45" fmla="*/ 734 h 803"/>
                <a:gd name="T46" fmla="*/ 1033 w 1033"/>
                <a:gd name="T47" fmla="*/ 803 h 803"/>
                <a:gd name="T48" fmla="*/ 1033 w 1033"/>
                <a:gd name="T49" fmla="*/ 734 h 803"/>
                <a:gd name="T50" fmla="*/ 136 w 1033"/>
                <a:gd name="T51" fmla="*/ 91 h 803"/>
                <a:gd name="T52" fmla="*/ 211 w 1033"/>
                <a:gd name="T53" fmla="*/ 169 h 803"/>
                <a:gd name="T54" fmla="*/ 325 w 1033"/>
                <a:gd name="T55" fmla="*/ 91 h 803"/>
                <a:gd name="T56" fmla="*/ 398 w 1033"/>
                <a:gd name="T57" fmla="*/ 169 h 803"/>
                <a:gd name="T58" fmla="*/ 631 w 1033"/>
                <a:gd name="T59" fmla="*/ 409 h 803"/>
                <a:gd name="T60" fmla="*/ 639 w 1033"/>
                <a:gd name="T61" fmla="*/ 402 h 803"/>
                <a:gd name="T62" fmla="*/ 631 w 1033"/>
                <a:gd name="T63" fmla="*/ 409 h 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3" h="803">
                  <a:moveTo>
                    <a:pt x="1019" y="732"/>
                  </a:moveTo>
                  <a:lnTo>
                    <a:pt x="953" y="717"/>
                  </a:lnTo>
                  <a:lnTo>
                    <a:pt x="639" y="405"/>
                  </a:lnTo>
                  <a:lnTo>
                    <a:pt x="965" y="74"/>
                  </a:lnTo>
                  <a:lnTo>
                    <a:pt x="993" y="69"/>
                  </a:lnTo>
                  <a:lnTo>
                    <a:pt x="993" y="0"/>
                  </a:lnTo>
                  <a:lnTo>
                    <a:pt x="993" y="0"/>
                  </a:lnTo>
                  <a:lnTo>
                    <a:pt x="626" y="0"/>
                  </a:lnTo>
                  <a:lnTo>
                    <a:pt x="626" y="69"/>
                  </a:lnTo>
                  <a:lnTo>
                    <a:pt x="662" y="77"/>
                  </a:lnTo>
                  <a:lnTo>
                    <a:pt x="713" y="88"/>
                  </a:lnTo>
                  <a:lnTo>
                    <a:pt x="521" y="283"/>
                  </a:lnTo>
                  <a:lnTo>
                    <a:pt x="330" y="90"/>
                  </a:lnTo>
                  <a:lnTo>
                    <a:pt x="428" y="69"/>
                  </a:lnTo>
                  <a:lnTo>
                    <a:pt x="428" y="69"/>
                  </a:lnTo>
                  <a:lnTo>
                    <a:pt x="428" y="69"/>
                  </a:lnTo>
                  <a:lnTo>
                    <a:pt x="4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69"/>
                  </a:lnTo>
                  <a:lnTo>
                    <a:pt x="81" y="79"/>
                  </a:lnTo>
                  <a:lnTo>
                    <a:pt x="406" y="397"/>
                  </a:lnTo>
                  <a:lnTo>
                    <a:pt x="98" y="713"/>
                  </a:lnTo>
                  <a:lnTo>
                    <a:pt x="106" y="712"/>
                  </a:lnTo>
                  <a:lnTo>
                    <a:pt x="428" y="390"/>
                  </a:lnTo>
                  <a:lnTo>
                    <a:pt x="106" y="712"/>
                  </a:lnTo>
                  <a:lnTo>
                    <a:pt x="98" y="713"/>
                  </a:lnTo>
                  <a:lnTo>
                    <a:pt x="98" y="713"/>
                  </a:lnTo>
                  <a:lnTo>
                    <a:pt x="9" y="733"/>
                  </a:lnTo>
                  <a:lnTo>
                    <a:pt x="0" y="734"/>
                  </a:lnTo>
                  <a:lnTo>
                    <a:pt x="0" y="803"/>
                  </a:lnTo>
                  <a:lnTo>
                    <a:pt x="0" y="803"/>
                  </a:lnTo>
                  <a:lnTo>
                    <a:pt x="385" y="803"/>
                  </a:lnTo>
                  <a:lnTo>
                    <a:pt x="385" y="803"/>
                  </a:lnTo>
                  <a:lnTo>
                    <a:pt x="385" y="734"/>
                  </a:lnTo>
                  <a:lnTo>
                    <a:pt x="355" y="729"/>
                  </a:lnTo>
                  <a:lnTo>
                    <a:pt x="328" y="722"/>
                  </a:lnTo>
                  <a:lnTo>
                    <a:pt x="280" y="712"/>
                  </a:lnTo>
                  <a:lnTo>
                    <a:pt x="280" y="712"/>
                  </a:lnTo>
                  <a:lnTo>
                    <a:pt x="328" y="722"/>
                  </a:lnTo>
                  <a:lnTo>
                    <a:pt x="538" y="505"/>
                  </a:lnTo>
                  <a:lnTo>
                    <a:pt x="539" y="506"/>
                  </a:lnTo>
                  <a:lnTo>
                    <a:pt x="525" y="520"/>
                  </a:lnTo>
                  <a:lnTo>
                    <a:pt x="717" y="716"/>
                  </a:lnTo>
                  <a:lnTo>
                    <a:pt x="633" y="734"/>
                  </a:lnTo>
                  <a:lnTo>
                    <a:pt x="633" y="803"/>
                  </a:lnTo>
                  <a:lnTo>
                    <a:pt x="1033" y="803"/>
                  </a:lnTo>
                  <a:lnTo>
                    <a:pt x="1033" y="803"/>
                  </a:lnTo>
                  <a:lnTo>
                    <a:pt x="1033" y="734"/>
                  </a:lnTo>
                  <a:lnTo>
                    <a:pt x="1019" y="732"/>
                  </a:lnTo>
                  <a:close/>
                  <a:moveTo>
                    <a:pt x="136" y="91"/>
                  </a:moveTo>
                  <a:lnTo>
                    <a:pt x="136" y="91"/>
                  </a:lnTo>
                  <a:lnTo>
                    <a:pt x="211" y="169"/>
                  </a:lnTo>
                  <a:lnTo>
                    <a:pt x="136" y="91"/>
                  </a:lnTo>
                  <a:close/>
                  <a:moveTo>
                    <a:pt x="325" y="91"/>
                  </a:moveTo>
                  <a:lnTo>
                    <a:pt x="325" y="91"/>
                  </a:lnTo>
                  <a:lnTo>
                    <a:pt x="398" y="169"/>
                  </a:lnTo>
                  <a:lnTo>
                    <a:pt x="325" y="91"/>
                  </a:lnTo>
                  <a:close/>
                  <a:moveTo>
                    <a:pt x="631" y="409"/>
                  </a:moveTo>
                  <a:lnTo>
                    <a:pt x="639" y="401"/>
                  </a:lnTo>
                  <a:lnTo>
                    <a:pt x="639" y="402"/>
                  </a:lnTo>
                  <a:lnTo>
                    <a:pt x="631" y="410"/>
                  </a:lnTo>
                  <a:lnTo>
                    <a:pt x="631" y="40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19"/>
            <p:cNvSpPr>
              <a:spLocks/>
            </p:cNvSpPr>
            <p:nvPr userDrawn="1"/>
          </p:nvSpPr>
          <p:spPr bwMode="auto">
            <a:xfrm>
              <a:off x="6839" y="1252"/>
              <a:ext cx="225" cy="262"/>
            </a:xfrm>
            <a:custGeom>
              <a:avLst/>
              <a:gdLst>
                <a:gd name="T0" fmla="*/ 519 w 676"/>
                <a:gd name="T1" fmla="*/ 786 h 786"/>
                <a:gd name="T2" fmla="*/ 157 w 676"/>
                <a:gd name="T3" fmla="*/ 786 h 786"/>
                <a:gd name="T4" fmla="*/ 157 w 676"/>
                <a:gd name="T5" fmla="*/ 711 h 786"/>
                <a:gd name="T6" fmla="*/ 252 w 676"/>
                <a:gd name="T7" fmla="*/ 688 h 786"/>
                <a:gd name="T8" fmla="*/ 252 w 676"/>
                <a:gd name="T9" fmla="*/ 92 h 786"/>
                <a:gd name="T10" fmla="*/ 169 w 676"/>
                <a:gd name="T11" fmla="*/ 92 h 786"/>
                <a:gd name="T12" fmla="*/ 127 w 676"/>
                <a:gd name="T13" fmla="*/ 188 h 786"/>
                <a:gd name="T14" fmla="*/ 0 w 676"/>
                <a:gd name="T15" fmla="*/ 188 h 786"/>
                <a:gd name="T16" fmla="*/ 0 w 676"/>
                <a:gd name="T17" fmla="*/ 0 h 786"/>
                <a:gd name="T18" fmla="*/ 676 w 676"/>
                <a:gd name="T19" fmla="*/ 0 h 786"/>
                <a:gd name="T20" fmla="*/ 676 w 676"/>
                <a:gd name="T21" fmla="*/ 188 h 786"/>
                <a:gd name="T22" fmla="*/ 549 w 676"/>
                <a:gd name="T23" fmla="*/ 188 h 786"/>
                <a:gd name="T24" fmla="*/ 509 w 676"/>
                <a:gd name="T25" fmla="*/ 92 h 786"/>
                <a:gd name="T26" fmla="*/ 424 w 676"/>
                <a:gd name="T27" fmla="*/ 92 h 786"/>
                <a:gd name="T28" fmla="*/ 424 w 676"/>
                <a:gd name="T29" fmla="*/ 688 h 786"/>
                <a:gd name="T30" fmla="*/ 519 w 676"/>
                <a:gd name="T31" fmla="*/ 711 h 786"/>
                <a:gd name="T32" fmla="*/ 519 w 676"/>
                <a:gd name="T33" fmla="*/ 786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76" h="786">
                  <a:moveTo>
                    <a:pt x="519" y="786"/>
                  </a:moveTo>
                  <a:lnTo>
                    <a:pt x="157" y="786"/>
                  </a:lnTo>
                  <a:lnTo>
                    <a:pt x="157" y="711"/>
                  </a:lnTo>
                  <a:lnTo>
                    <a:pt x="252" y="688"/>
                  </a:lnTo>
                  <a:lnTo>
                    <a:pt x="252" y="92"/>
                  </a:lnTo>
                  <a:lnTo>
                    <a:pt x="169" y="92"/>
                  </a:lnTo>
                  <a:lnTo>
                    <a:pt x="127" y="188"/>
                  </a:lnTo>
                  <a:lnTo>
                    <a:pt x="0" y="188"/>
                  </a:lnTo>
                  <a:lnTo>
                    <a:pt x="0" y="0"/>
                  </a:lnTo>
                  <a:lnTo>
                    <a:pt x="676" y="0"/>
                  </a:lnTo>
                  <a:lnTo>
                    <a:pt x="676" y="188"/>
                  </a:lnTo>
                  <a:lnTo>
                    <a:pt x="549" y="188"/>
                  </a:lnTo>
                  <a:lnTo>
                    <a:pt x="509" y="92"/>
                  </a:lnTo>
                  <a:lnTo>
                    <a:pt x="424" y="92"/>
                  </a:lnTo>
                  <a:lnTo>
                    <a:pt x="424" y="688"/>
                  </a:lnTo>
                  <a:lnTo>
                    <a:pt x="519" y="711"/>
                  </a:lnTo>
                  <a:lnTo>
                    <a:pt x="519" y="78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20"/>
            <p:cNvSpPr>
              <a:spLocks/>
            </p:cNvSpPr>
            <p:nvPr userDrawn="1"/>
          </p:nvSpPr>
          <p:spPr bwMode="auto">
            <a:xfrm>
              <a:off x="6839" y="1252"/>
              <a:ext cx="225" cy="262"/>
            </a:xfrm>
            <a:custGeom>
              <a:avLst/>
              <a:gdLst>
                <a:gd name="T0" fmla="*/ 519 w 676"/>
                <a:gd name="T1" fmla="*/ 786 h 786"/>
                <a:gd name="T2" fmla="*/ 157 w 676"/>
                <a:gd name="T3" fmla="*/ 786 h 786"/>
                <a:gd name="T4" fmla="*/ 157 w 676"/>
                <a:gd name="T5" fmla="*/ 711 h 786"/>
                <a:gd name="T6" fmla="*/ 252 w 676"/>
                <a:gd name="T7" fmla="*/ 688 h 786"/>
                <a:gd name="T8" fmla="*/ 252 w 676"/>
                <a:gd name="T9" fmla="*/ 92 h 786"/>
                <a:gd name="T10" fmla="*/ 169 w 676"/>
                <a:gd name="T11" fmla="*/ 92 h 786"/>
                <a:gd name="T12" fmla="*/ 127 w 676"/>
                <a:gd name="T13" fmla="*/ 188 h 786"/>
                <a:gd name="T14" fmla="*/ 0 w 676"/>
                <a:gd name="T15" fmla="*/ 188 h 786"/>
                <a:gd name="T16" fmla="*/ 0 w 676"/>
                <a:gd name="T17" fmla="*/ 0 h 786"/>
                <a:gd name="T18" fmla="*/ 676 w 676"/>
                <a:gd name="T19" fmla="*/ 0 h 786"/>
                <a:gd name="T20" fmla="*/ 676 w 676"/>
                <a:gd name="T21" fmla="*/ 188 h 786"/>
                <a:gd name="T22" fmla="*/ 549 w 676"/>
                <a:gd name="T23" fmla="*/ 188 h 786"/>
                <a:gd name="T24" fmla="*/ 509 w 676"/>
                <a:gd name="T25" fmla="*/ 92 h 786"/>
                <a:gd name="T26" fmla="*/ 424 w 676"/>
                <a:gd name="T27" fmla="*/ 92 h 786"/>
                <a:gd name="T28" fmla="*/ 424 w 676"/>
                <a:gd name="T29" fmla="*/ 688 h 786"/>
                <a:gd name="T30" fmla="*/ 519 w 676"/>
                <a:gd name="T31" fmla="*/ 711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76" h="786">
                  <a:moveTo>
                    <a:pt x="519" y="786"/>
                  </a:moveTo>
                  <a:lnTo>
                    <a:pt x="157" y="786"/>
                  </a:lnTo>
                  <a:lnTo>
                    <a:pt x="157" y="711"/>
                  </a:lnTo>
                  <a:lnTo>
                    <a:pt x="252" y="688"/>
                  </a:lnTo>
                  <a:lnTo>
                    <a:pt x="252" y="92"/>
                  </a:lnTo>
                  <a:lnTo>
                    <a:pt x="169" y="92"/>
                  </a:lnTo>
                  <a:lnTo>
                    <a:pt x="127" y="188"/>
                  </a:lnTo>
                  <a:lnTo>
                    <a:pt x="0" y="188"/>
                  </a:lnTo>
                  <a:lnTo>
                    <a:pt x="0" y="0"/>
                  </a:lnTo>
                  <a:lnTo>
                    <a:pt x="676" y="0"/>
                  </a:lnTo>
                  <a:lnTo>
                    <a:pt x="676" y="188"/>
                  </a:lnTo>
                  <a:lnTo>
                    <a:pt x="549" y="188"/>
                  </a:lnTo>
                  <a:lnTo>
                    <a:pt x="509" y="92"/>
                  </a:lnTo>
                  <a:lnTo>
                    <a:pt x="424" y="92"/>
                  </a:lnTo>
                  <a:lnTo>
                    <a:pt x="424" y="688"/>
                  </a:lnTo>
                  <a:lnTo>
                    <a:pt x="519" y="711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21"/>
            <p:cNvSpPr>
              <a:spLocks/>
            </p:cNvSpPr>
            <p:nvPr userDrawn="1"/>
          </p:nvSpPr>
          <p:spPr bwMode="auto">
            <a:xfrm>
              <a:off x="6594" y="1252"/>
              <a:ext cx="195" cy="262"/>
            </a:xfrm>
            <a:custGeom>
              <a:avLst/>
              <a:gdLst>
                <a:gd name="T0" fmla="*/ 346 w 585"/>
                <a:gd name="T1" fmla="*/ 786 h 786"/>
                <a:gd name="T2" fmla="*/ 0 w 585"/>
                <a:gd name="T3" fmla="*/ 786 h 786"/>
                <a:gd name="T4" fmla="*/ 0 w 585"/>
                <a:gd name="T5" fmla="*/ 711 h 786"/>
                <a:gd name="T6" fmla="*/ 78 w 585"/>
                <a:gd name="T7" fmla="*/ 688 h 786"/>
                <a:gd name="T8" fmla="*/ 78 w 585"/>
                <a:gd name="T9" fmla="*/ 99 h 786"/>
                <a:gd name="T10" fmla="*/ 0 w 585"/>
                <a:gd name="T11" fmla="*/ 74 h 786"/>
                <a:gd name="T12" fmla="*/ 0 w 585"/>
                <a:gd name="T13" fmla="*/ 0 h 786"/>
                <a:gd name="T14" fmla="*/ 585 w 585"/>
                <a:gd name="T15" fmla="*/ 0 h 786"/>
                <a:gd name="T16" fmla="*/ 585 w 585"/>
                <a:gd name="T17" fmla="*/ 188 h 786"/>
                <a:gd name="T18" fmla="*/ 454 w 585"/>
                <a:gd name="T19" fmla="*/ 188 h 786"/>
                <a:gd name="T20" fmla="*/ 410 w 585"/>
                <a:gd name="T21" fmla="*/ 92 h 786"/>
                <a:gd name="T22" fmla="*/ 249 w 585"/>
                <a:gd name="T23" fmla="*/ 92 h 786"/>
                <a:gd name="T24" fmla="*/ 249 w 585"/>
                <a:gd name="T25" fmla="*/ 335 h 786"/>
                <a:gd name="T26" fmla="*/ 381 w 585"/>
                <a:gd name="T27" fmla="*/ 335 h 786"/>
                <a:gd name="T28" fmla="*/ 414 w 585"/>
                <a:gd name="T29" fmla="*/ 256 h 786"/>
                <a:gd name="T30" fmla="*/ 524 w 585"/>
                <a:gd name="T31" fmla="*/ 256 h 786"/>
                <a:gd name="T32" fmla="*/ 524 w 585"/>
                <a:gd name="T33" fmla="*/ 506 h 786"/>
                <a:gd name="T34" fmla="*/ 414 w 585"/>
                <a:gd name="T35" fmla="*/ 506 h 786"/>
                <a:gd name="T36" fmla="*/ 381 w 585"/>
                <a:gd name="T37" fmla="*/ 428 h 786"/>
                <a:gd name="T38" fmla="*/ 249 w 585"/>
                <a:gd name="T39" fmla="*/ 428 h 786"/>
                <a:gd name="T40" fmla="*/ 249 w 585"/>
                <a:gd name="T41" fmla="*/ 693 h 786"/>
                <a:gd name="T42" fmla="*/ 346 w 585"/>
                <a:gd name="T43" fmla="*/ 711 h 786"/>
                <a:gd name="T44" fmla="*/ 346 w 585"/>
                <a:gd name="T45" fmla="*/ 786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5" h="786">
                  <a:moveTo>
                    <a:pt x="346" y="786"/>
                  </a:moveTo>
                  <a:lnTo>
                    <a:pt x="0" y="786"/>
                  </a:lnTo>
                  <a:lnTo>
                    <a:pt x="0" y="711"/>
                  </a:lnTo>
                  <a:lnTo>
                    <a:pt x="78" y="688"/>
                  </a:lnTo>
                  <a:lnTo>
                    <a:pt x="78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585" y="0"/>
                  </a:lnTo>
                  <a:lnTo>
                    <a:pt x="585" y="188"/>
                  </a:lnTo>
                  <a:lnTo>
                    <a:pt x="454" y="188"/>
                  </a:lnTo>
                  <a:lnTo>
                    <a:pt x="410" y="92"/>
                  </a:lnTo>
                  <a:lnTo>
                    <a:pt x="249" y="92"/>
                  </a:lnTo>
                  <a:lnTo>
                    <a:pt x="249" y="335"/>
                  </a:lnTo>
                  <a:lnTo>
                    <a:pt x="381" y="335"/>
                  </a:lnTo>
                  <a:lnTo>
                    <a:pt x="414" y="256"/>
                  </a:lnTo>
                  <a:lnTo>
                    <a:pt x="524" y="256"/>
                  </a:lnTo>
                  <a:lnTo>
                    <a:pt x="524" y="506"/>
                  </a:lnTo>
                  <a:lnTo>
                    <a:pt x="414" y="506"/>
                  </a:lnTo>
                  <a:lnTo>
                    <a:pt x="381" y="428"/>
                  </a:lnTo>
                  <a:lnTo>
                    <a:pt x="249" y="428"/>
                  </a:lnTo>
                  <a:lnTo>
                    <a:pt x="249" y="693"/>
                  </a:lnTo>
                  <a:lnTo>
                    <a:pt x="346" y="711"/>
                  </a:lnTo>
                  <a:lnTo>
                    <a:pt x="346" y="78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22"/>
            <p:cNvSpPr>
              <a:spLocks/>
            </p:cNvSpPr>
            <p:nvPr userDrawn="1"/>
          </p:nvSpPr>
          <p:spPr bwMode="auto">
            <a:xfrm>
              <a:off x="6594" y="1252"/>
              <a:ext cx="195" cy="262"/>
            </a:xfrm>
            <a:custGeom>
              <a:avLst/>
              <a:gdLst>
                <a:gd name="T0" fmla="*/ 346 w 585"/>
                <a:gd name="T1" fmla="*/ 786 h 786"/>
                <a:gd name="T2" fmla="*/ 0 w 585"/>
                <a:gd name="T3" fmla="*/ 786 h 786"/>
                <a:gd name="T4" fmla="*/ 0 w 585"/>
                <a:gd name="T5" fmla="*/ 711 h 786"/>
                <a:gd name="T6" fmla="*/ 78 w 585"/>
                <a:gd name="T7" fmla="*/ 688 h 786"/>
                <a:gd name="T8" fmla="*/ 78 w 585"/>
                <a:gd name="T9" fmla="*/ 99 h 786"/>
                <a:gd name="T10" fmla="*/ 0 w 585"/>
                <a:gd name="T11" fmla="*/ 74 h 786"/>
                <a:gd name="T12" fmla="*/ 0 w 585"/>
                <a:gd name="T13" fmla="*/ 0 h 786"/>
                <a:gd name="T14" fmla="*/ 585 w 585"/>
                <a:gd name="T15" fmla="*/ 0 h 786"/>
                <a:gd name="T16" fmla="*/ 585 w 585"/>
                <a:gd name="T17" fmla="*/ 188 h 786"/>
                <a:gd name="T18" fmla="*/ 454 w 585"/>
                <a:gd name="T19" fmla="*/ 188 h 786"/>
                <a:gd name="T20" fmla="*/ 410 w 585"/>
                <a:gd name="T21" fmla="*/ 92 h 786"/>
                <a:gd name="T22" fmla="*/ 249 w 585"/>
                <a:gd name="T23" fmla="*/ 92 h 786"/>
                <a:gd name="T24" fmla="*/ 249 w 585"/>
                <a:gd name="T25" fmla="*/ 335 h 786"/>
                <a:gd name="T26" fmla="*/ 381 w 585"/>
                <a:gd name="T27" fmla="*/ 335 h 786"/>
                <a:gd name="T28" fmla="*/ 414 w 585"/>
                <a:gd name="T29" fmla="*/ 256 h 786"/>
                <a:gd name="T30" fmla="*/ 524 w 585"/>
                <a:gd name="T31" fmla="*/ 256 h 786"/>
                <a:gd name="T32" fmla="*/ 524 w 585"/>
                <a:gd name="T33" fmla="*/ 506 h 786"/>
                <a:gd name="T34" fmla="*/ 414 w 585"/>
                <a:gd name="T35" fmla="*/ 506 h 786"/>
                <a:gd name="T36" fmla="*/ 381 w 585"/>
                <a:gd name="T37" fmla="*/ 428 h 786"/>
                <a:gd name="T38" fmla="*/ 249 w 585"/>
                <a:gd name="T39" fmla="*/ 428 h 786"/>
                <a:gd name="T40" fmla="*/ 249 w 585"/>
                <a:gd name="T41" fmla="*/ 693 h 786"/>
                <a:gd name="T42" fmla="*/ 346 w 585"/>
                <a:gd name="T43" fmla="*/ 711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5" h="786">
                  <a:moveTo>
                    <a:pt x="346" y="786"/>
                  </a:moveTo>
                  <a:lnTo>
                    <a:pt x="0" y="786"/>
                  </a:lnTo>
                  <a:lnTo>
                    <a:pt x="0" y="711"/>
                  </a:lnTo>
                  <a:lnTo>
                    <a:pt x="78" y="688"/>
                  </a:lnTo>
                  <a:lnTo>
                    <a:pt x="78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585" y="0"/>
                  </a:lnTo>
                  <a:lnTo>
                    <a:pt x="585" y="188"/>
                  </a:lnTo>
                  <a:lnTo>
                    <a:pt x="454" y="188"/>
                  </a:lnTo>
                  <a:lnTo>
                    <a:pt x="410" y="92"/>
                  </a:lnTo>
                  <a:lnTo>
                    <a:pt x="249" y="92"/>
                  </a:lnTo>
                  <a:lnTo>
                    <a:pt x="249" y="335"/>
                  </a:lnTo>
                  <a:lnTo>
                    <a:pt x="381" y="335"/>
                  </a:lnTo>
                  <a:lnTo>
                    <a:pt x="414" y="256"/>
                  </a:lnTo>
                  <a:lnTo>
                    <a:pt x="524" y="256"/>
                  </a:lnTo>
                  <a:lnTo>
                    <a:pt x="524" y="506"/>
                  </a:lnTo>
                  <a:lnTo>
                    <a:pt x="414" y="506"/>
                  </a:lnTo>
                  <a:lnTo>
                    <a:pt x="381" y="428"/>
                  </a:lnTo>
                  <a:lnTo>
                    <a:pt x="249" y="428"/>
                  </a:lnTo>
                  <a:lnTo>
                    <a:pt x="249" y="693"/>
                  </a:lnTo>
                  <a:lnTo>
                    <a:pt x="346" y="711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23"/>
            <p:cNvSpPr>
              <a:spLocks noEditPoints="1"/>
            </p:cNvSpPr>
            <p:nvPr userDrawn="1"/>
          </p:nvSpPr>
          <p:spPr bwMode="auto">
            <a:xfrm>
              <a:off x="6300" y="1247"/>
              <a:ext cx="243" cy="272"/>
            </a:xfrm>
            <a:custGeom>
              <a:avLst/>
              <a:gdLst>
                <a:gd name="T0" fmla="*/ 407 w 729"/>
                <a:gd name="T1" fmla="*/ 709 h 817"/>
                <a:gd name="T2" fmla="*/ 476 w 729"/>
                <a:gd name="T3" fmla="*/ 672 h 817"/>
                <a:gd name="T4" fmla="*/ 513 w 729"/>
                <a:gd name="T5" fmla="*/ 617 h 817"/>
                <a:gd name="T6" fmla="*/ 540 w 729"/>
                <a:gd name="T7" fmla="*/ 512 h 817"/>
                <a:gd name="T8" fmla="*/ 546 w 729"/>
                <a:gd name="T9" fmla="*/ 408 h 817"/>
                <a:gd name="T10" fmla="*/ 535 w 729"/>
                <a:gd name="T11" fmla="*/ 276 h 817"/>
                <a:gd name="T12" fmla="*/ 501 w 729"/>
                <a:gd name="T13" fmla="*/ 180 h 817"/>
                <a:gd name="T14" fmla="*/ 459 w 729"/>
                <a:gd name="T15" fmla="*/ 132 h 817"/>
                <a:gd name="T16" fmla="*/ 385 w 729"/>
                <a:gd name="T17" fmla="*/ 103 h 817"/>
                <a:gd name="T18" fmla="*/ 322 w 729"/>
                <a:gd name="T19" fmla="*/ 107 h 817"/>
                <a:gd name="T20" fmla="*/ 256 w 729"/>
                <a:gd name="T21" fmla="*/ 146 h 817"/>
                <a:gd name="T22" fmla="*/ 219 w 729"/>
                <a:gd name="T23" fmla="*/ 202 h 817"/>
                <a:gd name="T24" fmla="*/ 191 w 729"/>
                <a:gd name="T25" fmla="*/ 306 h 817"/>
                <a:gd name="T26" fmla="*/ 184 w 729"/>
                <a:gd name="T27" fmla="*/ 408 h 817"/>
                <a:gd name="T28" fmla="*/ 195 w 729"/>
                <a:gd name="T29" fmla="*/ 542 h 817"/>
                <a:gd name="T30" fmla="*/ 230 w 729"/>
                <a:gd name="T31" fmla="*/ 636 h 817"/>
                <a:gd name="T32" fmla="*/ 270 w 729"/>
                <a:gd name="T33" fmla="*/ 684 h 817"/>
                <a:gd name="T34" fmla="*/ 343 w 729"/>
                <a:gd name="T35" fmla="*/ 713 h 817"/>
                <a:gd name="T36" fmla="*/ 344 w 729"/>
                <a:gd name="T37" fmla="*/ 817 h 817"/>
                <a:gd name="T38" fmla="*/ 266 w 729"/>
                <a:gd name="T39" fmla="*/ 806 h 817"/>
                <a:gd name="T40" fmla="*/ 196 w 729"/>
                <a:gd name="T41" fmla="*/ 784 h 817"/>
                <a:gd name="T42" fmla="*/ 136 w 729"/>
                <a:gd name="T43" fmla="*/ 748 h 817"/>
                <a:gd name="T44" fmla="*/ 98 w 729"/>
                <a:gd name="T45" fmla="*/ 713 h 817"/>
                <a:gd name="T46" fmla="*/ 55 w 729"/>
                <a:gd name="T47" fmla="*/ 656 h 817"/>
                <a:gd name="T48" fmla="*/ 24 w 729"/>
                <a:gd name="T49" fmla="*/ 590 h 817"/>
                <a:gd name="T50" fmla="*/ 5 w 729"/>
                <a:gd name="T51" fmla="*/ 513 h 817"/>
                <a:gd name="T52" fmla="*/ 0 w 729"/>
                <a:gd name="T53" fmla="*/ 428 h 817"/>
                <a:gd name="T54" fmla="*/ 3 w 729"/>
                <a:gd name="T55" fmla="*/ 356 h 817"/>
                <a:gd name="T56" fmla="*/ 20 w 729"/>
                <a:gd name="T57" fmla="*/ 272 h 817"/>
                <a:gd name="T58" fmla="*/ 48 w 729"/>
                <a:gd name="T59" fmla="*/ 196 h 817"/>
                <a:gd name="T60" fmla="*/ 90 w 729"/>
                <a:gd name="T61" fmla="*/ 131 h 817"/>
                <a:gd name="T62" fmla="*/ 130 w 729"/>
                <a:gd name="T63" fmla="*/ 89 h 817"/>
                <a:gd name="T64" fmla="*/ 190 w 729"/>
                <a:gd name="T65" fmla="*/ 45 h 817"/>
                <a:gd name="T66" fmla="*/ 258 w 729"/>
                <a:gd name="T67" fmla="*/ 17 h 817"/>
                <a:gd name="T68" fmla="*/ 335 w 729"/>
                <a:gd name="T69" fmla="*/ 1 h 817"/>
                <a:gd name="T70" fmla="*/ 397 w 729"/>
                <a:gd name="T71" fmla="*/ 0 h 817"/>
                <a:gd name="T72" fmla="*/ 471 w 729"/>
                <a:gd name="T73" fmla="*/ 10 h 817"/>
                <a:gd name="T74" fmla="*/ 538 w 729"/>
                <a:gd name="T75" fmla="*/ 33 h 817"/>
                <a:gd name="T76" fmla="*/ 596 w 729"/>
                <a:gd name="T77" fmla="*/ 68 h 817"/>
                <a:gd name="T78" fmla="*/ 634 w 729"/>
                <a:gd name="T79" fmla="*/ 105 h 817"/>
                <a:gd name="T80" fmla="*/ 676 w 729"/>
                <a:gd name="T81" fmla="*/ 162 h 817"/>
                <a:gd name="T82" fmla="*/ 706 w 729"/>
                <a:gd name="T83" fmla="*/ 228 h 817"/>
                <a:gd name="T84" fmla="*/ 724 w 729"/>
                <a:gd name="T85" fmla="*/ 303 h 817"/>
                <a:gd name="T86" fmla="*/ 729 w 729"/>
                <a:gd name="T87" fmla="*/ 387 h 817"/>
                <a:gd name="T88" fmla="*/ 724 w 729"/>
                <a:gd name="T89" fmla="*/ 481 h 817"/>
                <a:gd name="T90" fmla="*/ 704 w 729"/>
                <a:gd name="T91" fmla="*/ 564 h 817"/>
                <a:gd name="T92" fmla="*/ 673 w 729"/>
                <a:gd name="T93" fmla="*/ 638 h 817"/>
                <a:gd name="T94" fmla="*/ 631 w 729"/>
                <a:gd name="T95" fmla="*/ 700 h 817"/>
                <a:gd name="T96" fmla="*/ 592 w 729"/>
                <a:gd name="T97" fmla="*/ 740 h 817"/>
                <a:gd name="T98" fmla="*/ 531 w 729"/>
                <a:gd name="T99" fmla="*/ 780 h 817"/>
                <a:gd name="T100" fmla="*/ 462 w 729"/>
                <a:gd name="T101" fmla="*/ 805 h 817"/>
                <a:gd name="T102" fmla="*/ 385 w 729"/>
                <a:gd name="T103" fmla="*/ 81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9" h="817">
                  <a:moveTo>
                    <a:pt x="365" y="714"/>
                  </a:moveTo>
                  <a:lnTo>
                    <a:pt x="365" y="714"/>
                  </a:lnTo>
                  <a:lnTo>
                    <a:pt x="387" y="713"/>
                  </a:lnTo>
                  <a:lnTo>
                    <a:pt x="407" y="709"/>
                  </a:lnTo>
                  <a:lnTo>
                    <a:pt x="427" y="704"/>
                  </a:lnTo>
                  <a:lnTo>
                    <a:pt x="445" y="695"/>
                  </a:lnTo>
                  <a:lnTo>
                    <a:pt x="461" y="684"/>
                  </a:lnTo>
                  <a:lnTo>
                    <a:pt x="476" y="672"/>
                  </a:lnTo>
                  <a:lnTo>
                    <a:pt x="489" y="656"/>
                  </a:lnTo>
                  <a:lnTo>
                    <a:pt x="501" y="638"/>
                  </a:lnTo>
                  <a:lnTo>
                    <a:pt x="501" y="638"/>
                  </a:lnTo>
                  <a:lnTo>
                    <a:pt x="513" y="617"/>
                  </a:lnTo>
                  <a:lnTo>
                    <a:pt x="522" y="595"/>
                  </a:lnTo>
                  <a:lnTo>
                    <a:pt x="529" y="569"/>
                  </a:lnTo>
                  <a:lnTo>
                    <a:pt x="536" y="542"/>
                  </a:lnTo>
                  <a:lnTo>
                    <a:pt x="540" y="512"/>
                  </a:lnTo>
                  <a:lnTo>
                    <a:pt x="544" y="480"/>
                  </a:lnTo>
                  <a:lnTo>
                    <a:pt x="546" y="445"/>
                  </a:lnTo>
                  <a:lnTo>
                    <a:pt x="546" y="408"/>
                  </a:lnTo>
                  <a:lnTo>
                    <a:pt x="546" y="408"/>
                  </a:lnTo>
                  <a:lnTo>
                    <a:pt x="546" y="372"/>
                  </a:lnTo>
                  <a:lnTo>
                    <a:pt x="544" y="337"/>
                  </a:lnTo>
                  <a:lnTo>
                    <a:pt x="540" y="306"/>
                  </a:lnTo>
                  <a:lnTo>
                    <a:pt x="535" y="276"/>
                  </a:lnTo>
                  <a:lnTo>
                    <a:pt x="528" y="249"/>
                  </a:lnTo>
                  <a:lnTo>
                    <a:pt x="520" y="224"/>
                  </a:lnTo>
                  <a:lnTo>
                    <a:pt x="511" y="201"/>
                  </a:lnTo>
                  <a:lnTo>
                    <a:pt x="501" y="180"/>
                  </a:lnTo>
                  <a:lnTo>
                    <a:pt x="501" y="180"/>
                  </a:lnTo>
                  <a:lnTo>
                    <a:pt x="488" y="162"/>
                  </a:lnTo>
                  <a:lnTo>
                    <a:pt x="475" y="146"/>
                  </a:lnTo>
                  <a:lnTo>
                    <a:pt x="459" y="132"/>
                  </a:lnTo>
                  <a:lnTo>
                    <a:pt x="444" y="122"/>
                  </a:lnTo>
                  <a:lnTo>
                    <a:pt x="426" y="113"/>
                  </a:lnTo>
                  <a:lnTo>
                    <a:pt x="406" y="107"/>
                  </a:lnTo>
                  <a:lnTo>
                    <a:pt x="385" y="103"/>
                  </a:lnTo>
                  <a:lnTo>
                    <a:pt x="363" y="102"/>
                  </a:lnTo>
                  <a:lnTo>
                    <a:pt x="363" y="102"/>
                  </a:lnTo>
                  <a:lnTo>
                    <a:pt x="343" y="103"/>
                  </a:lnTo>
                  <a:lnTo>
                    <a:pt x="322" y="107"/>
                  </a:lnTo>
                  <a:lnTo>
                    <a:pt x="304" y="114"/>
                  </a:lnTo>
                  <a:lnTo>
                    <a:pt x="287" y="122"/>
                  </a:lnTo>
                  <a:lnTo>
                    <a:pt x="270" y="133"/>
                  </a:lnTo>
                  <a:lnTo>
                    <a:pt x="256" y="146"/>
                  </a:lnTo>
                  <a:lnTo>
                    <a:pt x="241" y="162"/>
                  </a:lnTo>
                  <a:lnTo>
                    <a:pt x="230" y="181"/>
                  </a:lnTo>
                  <a:lnTo>
                    <a:pt x="230" y="181"/>
                  </a:lnTo>
                  <a:lnTo>
                    <a:pt x="219" y="202"/>
                  </a:lnTo>
                  <a:lnTo>
                    <a:pt x="210" y="224"/>
                  </a:lnTo>
                  <a:lnTo>
                    <a:pt x="203" y="250"/>
                  </a:lnTo>
                  <a:lnTo>
                    <a:pt x="196" y="277"/>
                  </a:lnTo>
                  <a:lnTo>
                    <a:pt x="191" y="306"/>
                  </a:lnTo>
                  <a:lnTo>
                    <a:pt x="187" y="338"/>
                  </a:lnTo>
                  <a:lnTo>
                    <a:pt x="184" y="372"/>
                  </a:lnTo>
                  <a:lnTo>
                    <a:pt x="184" y="408"/>
                  </a:lnTo>
                  <a:lnTo>
                    <a:pt x="184" y="408"/>
                  </a:lnTo>
                  <a:lnTo>
                    <a:pt x="184" y="445"/>
                  </a:lnTo>
                  <a:lnTo>
                    <a:pt x="187" y="480"/>
                  </a:lnTo>
                  <a:lnTo>
                    <a:pt x="191" y="512"/>
                  </a:lnTo>
                  <a:lnTo>
                    <a:pt x="195" y="542"/>
                  </a:lnTo>
                  <a:lnTo>
                    <a:pt x="201" y="569"/>
                  </a:lnTo>
                  <a:lnTo>
                    <a:pt x="209" y="594"/>
                  </a:lnTo>
                  <a:lnTo>
                    <a:pt x="219" y="617"/>
                  </a:lnTo>
                  <a:lnTo>
                    <a:pt x="230" y="636"/>
                  </a:lnTo>
                  <a:lnTo>
                    <a:pt x="230" y="636"/>
                  </a:lnTo>
                  <a:lnTo>
                    <a:pt x="241" y="655"/>
                  </a:lnTo>
                  <a:lnTo>
                    <a:pt x="256" y="672"/>
                  </a:lnTo>
                  <a:lnTo>
                    <a:pt x="270" y="684"/>
                  </a:lnTo>
                  <a:lnTo>
                    <a:pt x="287" y="695"/>
                  </a:lnTo>
                  <a:lnTo>
                    <a:pt x="304" y="704"/>
                  </a:lnTo>
                  <a:lnTo>
                    <a:pt x="323" y="709"/>
                  </a:lnTo>
                  <a:lnTo>
                    <a:pt x="343" y="713"/>
                  </a:lnTo>
                  <a:lnTo>
                    <a:pt x="365" y="714"/>
                  </a:lnTo>
                  <a:close/>
                  <a:moveTo>
                    <a:pt x="365" y="817"/>
                  </a:moveTo>
                  <a:lnTo>
                    <a:pt x="365" y="817"/>
                  </a:lnTo>
                  <a:lnTo>
                    <a:pt x="344" y="817"/>
                  </a:lnTo>
                  <a:lnTo>
                    <a:pt x="323" y="815"/>
                  </a:lnTo>
                  <a:lnTo>
                    <a:pt x="304" y="813"/>
                  </a:lnTo>
                  <a:lnTo>
                    <a:pt x="284" y="810"/>
                  </a:lnTo>
                  <a:lnTo>
                    <a:pt x="266" y="806"/>
                  </a:lnTo>
                  <a:lnTo>
                    <a:pt x="248" y="802"/>
                  </a:lnTo>
                  <a:lnTo>
                    <a:pt x="230" y="797"/>
                  </a:lnTo>
                  <a:lnTo>
                    <a:pt x="213" y="791"/>
                  </a:lnTo>
                  <a:lnTo>
                    <a:pt x="196" y="784"/>
                  </a:lnTo>
                  <a:lnTo>
                    <a:pt x="181" y="777"/>
                  </a:lnTo>
                  <a:lnTo>
                    <a:pt x="165" y="767"/>
                  </a:lnTo>
                  <a:lnTo>
                    <a:pt x="151" y="758"/>
                  </a:lnTo>
                  <a:lnTo>
                    <a:pt x="136" y="748"/>
                  </a:lnTo>
                  <a:lnTo>
                    <a:pt x="122" y="738"/>
                  </a:lnTo>
                  <a:lnTo>
                    <a:pt x="109" y="726"/>
                  </a:lnTo>
                  <a:lnTo>
                    <a:pt x="98" y="713"/>
                  </a:lnTo>
                  <a:lnTo>
                    <a:pt x="98" y="713"/>
                  </a:lnTo>
                  <a:lnTo>
                    <a:pt x="86" y="700"/>
                  </a:lnTo>
                  <a:lnTo>
                    <a:pt x="74" y="686"/>
                  </a:lnTo>
                  <a:lnTo>
                    <a:pt x="64" y="672"/>
                  </a:lnTo>
                  <a:lnTo>
                    <a:pt x="55" y="656"/>
                  </a:lnTo>
                  <a:lnTo>
                    <a:pt x="46" y="640"/>
                  </a:lnTo>
                  <a:lnTo>
                    <a:pt x="38" y="625"/>
                  </a:lnTo>
                  <a:lnTo>
                    <a:pt x="30" y="607"/>
                  </a:lnTo>
                  <a:lnTo>
                    <a:pt x="24" y="590"/>
                  </a:lnTo>
                  <a:lnTo>
                    <a:pt x="18" y="572"/>
                  </a:lnTo>
                  <a:lnTo>
                    <a:pt x="13" y="553"/>
                  </a:lnTo>
                  <a:lnTo>
                    <a:pt x="9" y="534"/>
                  </a:lnTo>
                  <a:lnTo>
                    <a:pt x="5" y="513"/>
                  </a:lnTo>
                  <a:lnTo>
                    <a:pt x="3" y="493"/>
                  </a:lnTo>
                  <a:lnTo>
                    <a:pt x="2" y="472"/>
                  </a:lnTo>
                  <a:lnTo>
                    <a:pt x="0" y="450"/>
                  </a:lnTo>
                  <a:lnTo>
                    <a:pt x="0" y="428"/>
                  </a:lnTo>
                  <a:lnTo>
                    <a:pt x="0" y="428"/>
                  </a:lnTo>
                  <a:lnTo>
                    <a:pt x="0" y="403"/>
                  </a:lnTo>
                  <a:lnTo>
                    <a:pt x="2" y="380"/>
                  </a:lnTo>
                  <a:lnTo>
                    <a:pt x="3" y="356"/>
                  </a:lnTo>
                  <a:lnTo>
                    <a:pt x="7" y="334"/>
                  </a:lnTo>
                  <a:lnTo>
                    <a:pt x="9" y="314"/>
                  </a:lnTo>
                  <a:lnTo>
                    <a:pt x="15" y="292"/>
                  </a:lnTo>
                  <a:lnTo>
                    <a:pt x="20" y="272"/>
                  </a:lnTo>
                  <a:lnTo>
                    <a:pt x="25" y="251"/>
                  </a:lnTo>
                  <a:lnTo>
                    <a:pt x="33" y="233"/>
                  </a:lnTo>
                  <a:lnTo>
                    <a:pt x="40" y="214"/>
                  </a:lnTo>
                  <a:lnTo>
                    <a:pt x="48" y="196"/>
                  </a:lnTo>
                  <a:lnTo>
                    <a:pt x="57" y="179"/>
                  </a:lnTo>
                  <a:lnTo>
                    <a:pt x="68" y="162"/>
                  </a:lnTo>
                  <a:lnTo>
                    <a:pt x="78" y="146"/>
                  </a:lnTo>
                  <a:lnTo>
                    <a:pt x="90" y="131"/>
                  </a:lnTo>
                  <a:lnTo>
                    <a:pt x="103" y="116"/>
                  </a:lnTo>
                  <a:lnTo>
                    <a:pt x="103" y="116"/>
                  </a:lnTo>
                  <a:lnTo>
                    <a:pt x="116" y="102"/>
                  </a:lnTo>
                  <a:lnTo>
                    <a:pt x="130" y="89"/>
                  </a:lnTo>
                  <a:lnTo>
                    <a:pt x="144" y="76"/>
                  </a:lnTo>
                  <a:lnTo>
                    <a:pt x="159" y="65"/>
                  </a:lnTo>
                  <a:lnTo>
                    <a:pt x="174" y="54"/>
                  </a:lnTo>
                  <a:lnTo>
                    <a:pt x="190" y="45"/>
                  </a:lnTo>
                  <a:lnTo>
                    <a:pt x="206" y="36"/>
                  </a:lnTo>
                  <a:lnTo>
                    <a:pt x="223" y="28"/>
                  </a:lnTo>
                  <a:lnTo>
                    <a:pt x="240" y="22"/>
                  </a:lnTo>
                  <a:lnTo>
                    <a:pt x="258" y="17"/>
                  </a:lnTo>
                  <a:lnTo>
                    <a:pt x="277" y="11"/>
                  </a:lnTo>
                  <a:lnTo>
                    <a:pt x="296" y="8"/>
                  </a:lnTo>
                  <a:lnTo>
                    <a:pt x="315" y="4"/>
                  </a:lnTo>
                  <a:lnTo>
                    <a:pt x="335" y="1"/>
                  </a:lnTo>
                  <a:lnTo>
                    <a:pt x="356" y="0"/>
                  </a:lnTo>
                  <a:lnTo>
                    <a:pt x="378" y="0"/>
                  </a:lnTo>
                  <a:lnTo>
                    <a:pt x="378" y="0"/>
                  </a:lnTo>
                  <a:lnTo>
                    <a:pt x="397" y="0"/>
                  </a:lnTo>
                  <a:lnTo>
                    <a:pt x="417" y="1"/>
                  </a:lnTo>
                  <a:lnTo>
                    <a:pt x="435" y="4"/>
                  </a:lnTo>
                  <a:lnTo>
                    <a:pt x="454" y="6"/>
                  </a:lnTo>
                  <a:lnTo>
                    <a:pt x="471" y="10"/>
                  </a:lnTo>
                  <a:lnTo>
                    <a:pt x="489" y="14"/>
                  </a:lnTo>
                  <a:lnTo>
                    <a:pt x="506" y="19"/>
                  </a:lnTo>
                  <a:lnTo>
                    <a:pt x="522" y="26"/>
                  </a:lnTo>
                  <a:lnTo>
                    <a:pt x="538" y="33"/>
                  </a:lnTo>
                  <a:lnTo>
                    <a:pt x="553" y="41"/>
                  </a:lnTo>
                  <a:lnTo>
                    <a:pt x="568" y="49"/>
                  </a:lnTo>
                  <a:lnTo>
                    <a:pt x="583" y="59"/>
                  </a:lnTo>
                  <a:lnTo>
                    <a:pt x="596" y="68"/>
                  </a:lnTo>
                  <a:lnTo>
                    <a:pt x="608" y="80"/>
                  </a:lnTo>
                  <a:lnTo>
                    <a:pt x="621" y="92"/>
                  </a:lnTo>
                  <a:lnTo>
                    <a:pt x="634" y="105"/>
                  </a:lnTo>
                  <a:lnTo>
                    <a:pt x="634" y="105"/>
                  </a:lnTo>
                  <a:lnTo>
                    <a:pt x="646" y="118"/>
                  </a:lnTo>
                  <a:lnTo>
                    <a:pt x="656" y="132"/>
                  </a:lnTo>
                  <a:lnTo>
                    <a:pt x="667" y="146"/>
                  </a:lnTo>
                  <a:lnTo>
                    <a:pt x="676" y="162"/>
                  </a:lnTo>
                  <a:lnTo>
                    <a:pt x="685" y="177"/>
                  </a:lnTo>
                  <a:lnTo>
                    <a:pt x="693" y="194"/>
                  </a:lnTo>
                  <a:lnTo>
                    <a:pt x="699" y="211"/>
                  </a:lnTo>
                  <a:lnTo>
                    <a:pt x="706" y="228"/>
                  </a:lnTo>
                  <a:lnTo>
                    <a:pt x="711" y="246"/>
                  </a:lnTo>
                  <a:lnTo>
                    <a:pt x="716" y="264"/>
                  </a:lnTo>
                  <a:lnTo>
                    <a:pt x="720" y="284"/>
                  </a:lnTo>
                  <a:lnTo>
                    <a:pt x="724" y="303"/>
                  </a:lnTo>
                  <a:lnTo>
                    <a:pt x="726" y="324"/>
                  </a:lnTo>
                  <a:lnTo>
                    <a:pt x="728" y="345"/>
                  </a:lnTo>
                  <a:lnTo>
                    <a:pt x="729" y="387"/>
                  </a:lnTo>
                  <a:lnTo>
                    <a:pt x="729" y="387"/>
                  </a:lnTo>
                  <a:lnTo>
                    <a:pt x="729" y="412"/>
                  </a:lnTo>
                  <a:lnTo>
                    <a:pt x="728" y="435"/>
                  </a:lnTo>
                  <a:lnTo>
                    <a:pt x="726" y="459"/>
                  </a:lnTo>
                  <a:lnTo>
                    <a:pt x="724" y="481"/>
                  </a:lnTo>
                  <a:lnTo>
                    <a:pt x="720" y="503"/>
                  </a:lnTo>
                  <a:lnTo>
                    <a:pt x="716" y="524"/>
                  </a:lnTo>
                  <a:lnTo>
                    <a:pt x="711" y="544"/>
                  </a:lnTo>
                  <a:lnTo>
                    <a:pt x="704" y="564"/>
                  </a:lnTo>
                  <a:lnTo>
                    <a:pt x="698" y="583"/>
                  </a:lnTo>
                  <a:lnTo>
                    <a:pt x="691" y="601"/>
                  </a:lnTo>
                  <a:lnTo>
                    <a:pt x="682" y="620"/>
                  </a:lnTo>
                  <a:lnTo>
                    <a:pt x="673" y="638"/>
                  </a:lnTo>
                  <a:lnTo>
                    <a:pt x="664" y="653"/>
                  </a:lnTo>
                  <a:lnTo>
                    <a:pt x="654" y="670"/>
                  </a:lnTo>
                  <a:lnTo>
                    <a:pt x="642" y="686"/>
                  </a:lnTo>
                  <a:lnTo>
                    <a:pt x="631" y="700"/>
                  </a:lnTo>
                  <a:lnTo>
                    <a:pt x="631" y="700"/>
                  </a:lnTo>
                  <a:lnTo>
                    <a:pt x="618" y="714"/>
                  </a:lnTo>
                  <a:lnTo>
                    <a:pt x="605" y="727"/>
                  </a:lnTo>
                  <a:lnTo>
                    <a:pt x="592" y="740"/>
                  </a:lnTo>
                  <a:lnTo>
                    <a:pt x="577" y="752"/>
                  </a:lnTo>
                  <a:lnTo>
                    <a:pt x="562" y="762"/>
                  </a:lnTo>
                  <a:lnTo>
                    <a:pt x="546" y="771"/>
                  </a:lnTo>
                  <a:lnTo>
                    <a:pt x="531" y="780"/>
                  </a:lnTo>
                  <a:lnTo>
                    <a:pt x="515" y="788"/>
                  </a:lnTo>
                  <a:lnTo>
                    <a:pt x="498" y="795"/>
                  </a:lnTo>
                  <a:lnTo>
                    <a:pt x="480" y="800"/>
                  </a:lnTo>
                  <a:lnTo>
                    <a:pt x="462" y="805"/>
                  </a:lnTo>
                  <a:lnTo>
                    <a:pt x="444" y="809"/>
                  </a:lnTo>
                  <a:lnTo>
                    <a:pt x="426" y="813"/>
                  </a:lnTo>
                  <a:lnTo>
                    <a:pt x="406" y="815"/>
                  </a:lnTo>
                  <a:lnTo>
                    <a:pt x="385" y="817"/>
                  </a:lnTo>
                  <a:lnTo>
                    <a:pt x="365" y="81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24"/>
            <p:cNvSpPr>
              <a:spLocks/>
            </p:cNvSpPr>
            <p:nvPr userDrawn="1"/>
          </p:nvSpPr>
          <p:spPr bwMode="auto">
            <a:xfrm>
              <a:off x="6361" y="1281"/>
              <a:ext cx="121" cy="204"/>
            </a:xfrm>
            <a:custGeom>
              <a:avLst/>
              <a:gdLst>
                <a:gd name="T0" fmla="*/ 181 w 362"/>
                <a:gd name="T1" fmla="*/ 612 h 612"/>
                <a:gd name="T2" fmla="*/ 223 w 362"/>
                <a:gd name="T3" fmla="*/ 607 h 612"/>
                <a:gd name="T4" fmla="*/ 261 w 362"/>
                <a:gd name="T5" fmla="*/ 593 h 612"/>
                <a:gd name="T6" fmla="*/ 292 w 362"/>
                <a:gd name="T7" fmla="*/ 570 h 612"/>
                <a:gd name="T8" fmla="*/ 317 w 362"/>
                <a:gd name="T9" fmla="*/ 536 h 612"/>
                <a:gd name="T10" fmla="*/ 329 w 362"/>
                <a:gd name="T11" fmla="*/ 515 h 612"/>
                <a:gd name="T12" fmla="*/ 345 w 362"/>
                <a:gd name="T13" fmla="*/ 467 h 612"/>
                <a:gd name="T14" fmla="*/ 356 w 362"/>
                <a:gd name="T15" fmla="*/ 410 h 612"/>
                <a:gd name="T16" fmla="*/ 362 w 362"/>
                <a:gd name="T17" fmla="*/ 343 h 612"/>
                <a:gd name="T18" fmla="*/ 362 w 362"/>
                <a:gd name="T19" fmla="*/ 306 h 612"/>
                <a:gd name="T20" fmla="*/ 360 w 362"/>
                <a:gd name="T21" fmla="*/ 235 h 612"/>
                <a:gd name="T22" fmla="*/ 351 w 362"/>
                <a:gd name="T23" fmla="*/ 174 h 612"/>
                <a:gd name="T24" fmla="*/ 336 w 362"/>
                <a:gd name="T25" fmla="*/ 122 h 612"/>
                <a:gd name="T26" fmla="*/ 317 w 362"/>
                <a:gd name="T27" fmla="*/ 78 h 612"/>
                <a:gd name="T28" fmla="*/ 304 w 362"/>
                <a:gd name="T29" fmla="*/ 60 h 612"/>
                <a:gd name="T30" fmla="*/ 275 w 362"/>
                <a:gd name="T31" fmla="*/ 30 h 612"/>
                <a:gd name="T32" fmla="*/ 242 w 362"/>
                <a:gd name="T33" fmla="*/ 11 h 612"/>
                <a:gd name="T34" fmla="*/ 201 w 362"/>
                <a:gd name="T35" fmla="*/ 1 h 612"/>
                <a:gd name="T36" fmla="*/ 179 w 362"/>
                <a:gd name="T37" fmla="*/ 0 h 612"/>
                <a:gd name="T38" fmla="*/ 138 w 362"/>
                <a:gd name="T39" fmla="*/ 5 h 612"/>
                <a:gd name="T40" fmla="*/ 103 w 362"/>
                <a:gd name="T41" fmla="*/ 20 h 612"/>
                <a:gd name="T42" fmla="*/ 72 w 362"/>
                <a:gd name="T43" fmla="*/ 44 h 612"/>
                <a:gd name="T44" fmla="*/ 46 w 362"/>
                <a:gd name="T45" fmla="*/ 79 h 612"/>
                <a:gd name="T46" fmla="*/ 35 w 362"/>
                <a:gd name="T47" fmla="*/ 100 h 612"/>
                <a:gd name="T48" fmla="*/ 19 w 362"/>
                <a:gd name="T49" fmla="*/ 148 h 612"/>
                <a:gd name="T50" fmla="*/ 7 w 362"/>
                <a:gd name="T51" fmla="*/ 204 h 612"/>
                <a:gd name="T52" fmla="*/ 0 w 362"/>
                <a:gd name="T53" fmla="*/ 270 h 612"/>
                <a:gd name="T54" fmla="*/ 0 w 362"/>
                <a:gd name="T55" fmla="*/ 306 h 612"/>
                <a:gd name="T56" fmla="*/ 3 w 362"/>
                <a:gd name="T57" fmla="*/ 378 h 612"/>
                <a:gd name="T58" fmla="*/ 11 w 362"/>
                <a:gd name="T59" fmla="*/ 440 h 612"/>
                <a:gd name="T60" fmla="*/ 25 w 362"/>
                <a:gd name="T61" fmla="*/ 492 h 612"/>
                <a:gd name="T62" fmla="*/ 46 w 362"/>
                <a:gd name="T63" fmla="*/ 534 h 612"/>
                <a:gd name="T64" fmla="*/ 57 w 362"/>
                <a:gd name="T65" fmla="*/ 553 h 612"/>
                <a:gd name="T66" fmla="*/ 86 w 362"/>
                <a:gd name="T67" fmla="*/ 582 h 612"/>
                <a:gd name="T68" fmla="*/ 120 w 362"/>
                <a:gd name="T69" fmla="*/ 602 h 612"/>
                <a:gd name="T70" fmla="*/ 159 w 362"/>
                <a:gd name="T71" fmla="*/ 611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2" h="612">
                  <a:moveTo>
                    <a:pt x="181" y="612"/>
                  </a:moveTo>
                  <a:lnTo>
                    <a:pt x="181" y="612"/>
                  </a:lnTo>
                  <a:lnTo>
                    <a:pt x="203" y="611"/>
                  </a:lnTo>
                  <a:lnTo>
                    <a:pt x="223" y="607"/>
                  </a:lnTo>
                  <a:lnTo>
                    <a:pt x="243" y="602"/>
                  </a:lnTo>
                  <a:lnTo>
                    <a:pt x="261" y="593"/>
                  </a:lnTo>
                  <a:lnTo>
                    <a:pt x="277" y="582"/>
                  </a:lnTo>
                  <a:lnTo>
                    <a:pt x="292" y="570"/>
                  </a:lnTo>
                  <a:lnTo>
                    <a:pt x="305" y="554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29" y="515"/>
                  </a:lnTo>
                  <a:lnTo>
                    <a:pt x="338" y="493"/>
                  </a:lnTo>
                  <a:lnTo>
                    <a:pt x="345" y="467"/>
                  </a:lnTo>
                  <a:lnTo>
                    <a:pt x="352" y="440"/>
                  </a:lnTo>
                  <a:lnTo>
                    <a:pt x="356" y="410"/>
                  </a:lnTo>
                  <a:lnTo>
                    <a:pt x="360" y="378"/>
                  </a:lnTo>
                  <a:lnTo>
                    <a:pt x="362" y="343"/>
                  </a:lnTo>
                  <a:lnTo>
                    <a:pt x="362" y="306"/>
                  </a:lnTo>
                  <a:lnTo>
                    <a:pt x="362" y="306"/>
                  </a:lnTo>
                  <a:lnTo>
                    <a:pt x="362" y="270"/>
                  </a:lnTo>
                  <a:lnTo>
                    <a:pt x="360" y="235"/>
                  </a:lnTo>
                  <a:lnTo>
                    <a:pt x="356" y="204"/>
                  </a:lnTo>
                  <a:lnTo>
                    <a:pt x="351" y="174"/>
                  </a:lnTo>
                  <a:lnTo>
                    <a:pt x="344" y="147"/>
                  </a:lnTo>
                  <a:lnTo>
                    <a:pt x="336" y="122"/>
                  </a:lnTo>
                  <a:lnTo>
                    <a:pt x="327" y="99"/>
                  </a:lnTo>
                  <a:lnTo>
                    <a:pt x="317" y="78"/>
                  </a:lnTo>
                  <a:lnTo>
                    <a:pt x="317" y="78"/>
                  </a:lnTo>
                  <a:lnTo>
                    <a:pt x="304" y="60"/>
                  </a:lnTo>
                  <a:lnTo>
                    <a:pt x="291" y="44"/>
                  </a:lnTo>
                  <a:lnTo>
                    <a:pt x="275" y="30"/>
                  </a:lnTo>
                  <a:lnTo>
                    <a:pt x="260" y="20"/>
                  </a:lnTo>
                  <a:lnTo>
                    <a:pt x="242" y="11"/>
                  </a:lnTo>
                  <a:lnTo>
                    <a:pt x="222" y="5"/>
                  </a:lnTo>
                  <a:lnTo>
                    <a:pt x="201" y="1"/>
                  </a:lnTo>
                  <a:lnTo>
                    <a:pt x="179" y="0"/>
                  </a:lnTo>
                  <a:lnTo>
                    <a:pt x="179" y="0"/>
                  </a:lnTo>
                  <a:lnTo>
                    <a:pt x="159" y="1"/>
                  </a:lnTo>
                  <a:lnTo>
                    <a:pt x="138" y="5"/>
                  </a:lnTo>
                  <a:lnTo>
                    <a:pt x="120" y="12"/>
                  </a:lnTo>
                  <a:lnTo>
                    <a:pt x="103" y="20"/>
                  </a:lnTo>
                  <a:lnTo>
                    <a:pt x="86" y="31"/>
                  </a:lnTo>
                  <a:lnTo>
                    <a:pt x="72" y="44"/>
                  </a:lnTo>
                  <a:lnTo>
                    <a:pt x="57" y="60"/>
                  </a:lnTo>
                  <a:lnTo>
                    <a:pt x="46" y="79"/>
                  </a:lnTo>
                  <a:lnTo>
                    <a:pt x="46" y="79"/>
                  </a:lnTo>
                  <a:lnTo>
                    <a:pt x="35" y="100"/>
                  </a:lnTo>
                  <a:lnTo>
                    <a:pt x="26" y="122"/>
                  </a:lnTo>
                  <a:lnTo>
                    <a:pt x="19" y="148"/>
                  </a:lnTo>
                  <a:lnTo>
                    <a:pt x="12" y="175"/>
                  </a:lnTo>
                  <a:lnTo>
                    <a:pt x="7" y="204"/>
                  </a:lnTo>
                  <a:lnTo>
                    <a:pt x="3" y="236"/>
                  </a:lnTo>
                  <a:lnTo>
                    <a:pt x="0" y="270"/>
                  </a:lnTo>
                  <a:lnTo>
                    <a:pt x="0" y="306"/>
                  </a:lnTo>
                  <a:lnTo>
                    <a:pt x="0" y="306"/>
                  </a:lnTo>
                  <a:lnTo>
                    <a:pt x="0" y="343"/>
                  </a:lnTo>
                  <a:lnTo>
                    <a:pt x="3" y="378"/>
                  </a:lnTo>
                  <a:lnTo>
                    <a:pt x="7" y="410"/>
                  </a:lnTo>
                  <a:lnTo>
                    <a:pt x="11" y="440"/>
                  </a:lnTo>
                  <a:lnTo>
                    <a:pt x="17" y="467"/>
                  </a:lnTo>
                  <a:lnTo>
                    <a:pt x="25" y="492"/>
                  </a:lnTo>
                  <a:lnTo>
                    <a:pt x="35" y="515"/>
                  </a:lnTo>
                  <a:lnTo>
                    <a:pt x="46" y="534"/>
                  </a:lnTo>
                  <a:lnTo>
                    <a:pt x="46" y="534"/>
                  </a:lnTo>
                  <a:lnTo>
                    <a:pt x="57" y="553"/>
                  </a:lnTo>
                  <a:lnTo>
                    <a:pt x="72" y="570"/>
                  </a:lnTo>
                  <a:lnTo>
                    <a:pt x="86" y="582"/>
                  </a:lnTo>
                  <a:lnTo>
                    <a:pt x="103" y="593"/>
                  </a:lnTo>
                  <a:lnTo>
                    <a:pt x="120" y="602"/>
                  </a:lnTo>
                  <a:lnTo>
                    <a:pt x="139" y="607"/>
                  </a:lnTo>
                  <a:lnTo>
                    <a:pt x="159" y="611"/>
                  </a:lnTo>
                  <a:lnTo>
                    <a:pt x="181" y="612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25"/>
            <p:cNvSpPr>
              <a:spLocks/>
            </p:cNvSpPr>
            <p:nvPr userDrawn="1"/>
          </p:nvSpPr>
          <p:spPr bwMode="auto">
            <a:xfrm>
              <a:off x="6300" y="1247"/>
              <a:ext cx="243" cy="272"/>
            </a:xfrm>
            <a:custGeom>
              <a:avLst/>
              <a:gdLst>
                <a:gd name="T0" fmla="*/ 344 w 729"/>
                <a:gd name="T1" fmla="*/ 817 h 817"/>
                <a:gd name="T2" fmla="*/ 284 w 729"/>
                <a:gd name="T3" fmla="*/ 810 h 817"/>
                <a:gd name="T4" fmla="*/ 230 w 729"/>
                <a:gd name="T5" fmla="*/ 797 h 817"/>
                <a:gd name="T6" fmla="*/ 181 w 729"/>
                <a:gd name="T7" fmla="*/ 777 h 817"/>
                <a:gd name="T8" fmla="*/ 136 w 729"/>
                <a:gd name="T9" fmla="*/ 748 h 817"/>
                <a:gd name="T10" fmla="*/ 98 w 729"/>
                <a:gd name="T11" fmla="*/ 713 h 817"/>
                <a:gd name="T12" fmla="*/ 74 w 729"/>
                <a:gd name="T13" fmla="*/ 686 h 817"/>
                <a:gd name="T14" fmla="*/ 46 w 729"/>
                <a:gd name="T15" fmla="*/ 640 h 817"/>
                <a:gd name="T16" fmla="*/ 24 w 729"/>
                <a:gd name="T17" fmla="*/ 590 h 817"/>
                <a:gd name="T18" fmla="*/ 9 w 729"/>
                <a:gd name="T19" fmla="*/ 534 h 817"/>
                <a:gd name="T20" fmla="*/ 2 w 729"/>
                <a:gd name="T21" fmla="*/ 472 h 817"/>
                <a:gd name="T22" fmla="*/ 0 w 729"/>
                <a:gd name="T23" fmla="*/ 428 h 817"/>
                <a:gd name="T24" fmla="*/ 3 w 729"/>
                <a:gd name="T25" fmla="*/ 356 h 817"/>
                <a:gd name="T26" fmla="*/ 15 w 729"/>
                <a:gd name="T27" fmla="*/ 292 h 817"/>
                <a:gd name="T28" fmla="*/ 33 w 729"/>
                <a:gd name="T29" fmla="*/ 233 h 817"/>
                <a:gd name="T30" fmla="*/ 57 w 729"/>
                <a:gd name="T31" fmla="*/ 179 h 817"/>
                <a:gd name="T32" fmla="*/ 90 w 729"/>
                <a:gd name="T33" fmla="*/ 131 h 817"/>
                <a:gd name="T34" fmla="*/ 116 w 729"/>
                <a:gd name="T35" fmla="*/ 102 h 817"/>
                <a:gd name="T36" fmla="*/ 159 w 729"/>
                <a:gd name="T37" fmla="*/ 65 h 817"/>
                <a:gd name="T38" fmla="*/ 206 w 729"/>
                <a:gd name="T39" fmla="*/ 36 h 817"/>
                <a:gd name="T40" fmla="*/ 258 w 729"/>
                <a:gd name="T41" fmla="*/ 17 h 817"/>
                <a:gd name="T42" fmla="*/ 315 w 729"/>
                <a:gd name="T43" fmla="*/ 4 h 817"/>
                <a:gd name="T44" fmla="*/ 378 w 729"/>
                <a:gd name="T45" fmla="*/ 0 h 817"/>
                <a:gd name="T46" fmla="*/ 417 w 729"/>
                <a:gd name="T47" fmla="*/ 1 h 817"/>
                <a:gd name="T48" fmla="*/ 471 w 729"/>
                <a:gd name="T49" fmla="*/ 10 h 817"/>
                <a:gd name="T50" fmla="*/ 522 w 729"/>
                <a:gd name="T51" fmla="*/ 26 h 817"/>
                <a:gd name="T52" fmla="*/ 568 w 729"/>
                <a:gd name="T53" fmla="*/ 49 h 817"/>
                <a:gd name="T54" fmla="*/ 608 w 729"/>
                <a:gd name="T55" fmla="*/ 80 h 817"/>
                <a:gd name="T56" fmla="*/ 634 w 729"/>
                <a:gd name="T57" fmla="*/ 105 h 817"/>
                <a:gd name="T58" fmla="*/ 667 w 729"/>
                <a:gd name="T59" fmla="*/ 146 h 817"/>
                <a:gd name="T60" fmla="*/ 693 w 729"/>
                <a:gd name="T61" fmla="*/ 194 h 817"/>
                <a:gd name="T62" fmla="*/ 711 w 729"/>
                <a:gd name="T63" fmla="*/ 246 h 817"/>
                <a:gd name="T64" fmla="*/ 724 w 729"/>
                <a:gd name="T65" fmla="*/ 303 h 817"/>
                <a:gd name="T66" fmla="*/ 729 w 729"/>
                <a:gd name="T67" fmla="*/ 387 h 817"/>
                <a:gd name="T68" fmla="*/ 728 w 729"/>
                <a:gd name="T69" fmla="*/ 435 h 817"/>
                <a:gd name="T70" fmla="*/ 720 w 729"/>
                <a:gd name="T71" fmla="*/ 503 h 817"/>
                <a:gd name="T72" fmla="*/ 704 w 729"/>
                <a:gd name="T73" fmla="*/ 564 h 817"/>
                <a:gd name="T74" fmla="*/ 682 w 729"/>
                <a:gd name="T75" fmla="*/ 620 h 817"/>
                <a:gd name="T76" fmla="*/ 654 w 729"/>
                <a:gd name="T77" fmla="*/ 670 h 817"/>
                <a:gd name="T78" fmla="*/ 631 w 729"/>
                <a:gd name="T79" fmla="*/ 700 h 817"/>
                <a:gd name="T80" fmla="*/ 592 w 729"/>
                <a:gd name="T81" fmla="*/ 740 h 817"/>
                <a:gd name="T82" fmla="*/ 546 w 729"/>
                <a:gd name="T83" fmla="*/ 771 h 817"/>
                <a:gd name="T84" fmla="*/ 498 w 729"/>
                <a:gd name="T85" fmla="*/ 795 h 817"/>
                <a:gd name="T86" fmla="*/ 444 w 729"/>
                <a:gd name="T87" fmla="*/ 809 h 817"/>
                <a:gd name="T88" fmla="*/ 385 w 729"/>
                <a:gd name="T89" fmla="*/ 81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29" h="817">
                  <a:moveTo>
                    <a:pt x="365" y="817"/>
                  </a:moveTo>
                  <a:lnTo>
                    <a:pt x="365" y="817"/>
                  </a:lnTo>
                  <a:lnTo>
                    <a:pt x="344" y="817"/>
                  </a:lnTo>
                  <a:lnTo>
                    <a:pt x="323" y="815"/>
                  </a:lnTo>
                  <a:lnTo>
                    <a:pt x="304" y="813"/>
                  </a:lnTo>
                  <a:lnTo>
                    <a:pt x="284" y="810"/>
                  </a:lnTo>
                  <a:lnTo>
                    <a:pt x="266" y="806"/>
                  </a:lnTo>
                  <a:lnTo>
                    <a:pt x="248" y="802"/>
                  </a:lnTo>
                  <a:lnTo>
                    <a:pt x="230" y="797"/>
                  </a:lnTo>
                  <a:lnTo>
                    <a:pt x="213" y="791"/>
                  </a:lnTo>
                  <a:lnTo>
                    <a:pt x="196" y="784"/>
                  </a:lnTo>
                  <a:lnTo>
                    <a:pt x="181" y="777"/>
                  </a:lnTo>
                  <a:lnTo>
                    <a:pt x="165" y="767"/>
                  </a:lnTo>
                  <a:lnTo>
                    <a:pt x="151" y="758"/>
                  </a:lnTo>
                  <a:lnTo>
                    <a:pt x="136" y="748"/>
                  </a:lnTo>
                  <a:lnTo>
                    <a:pt x="122" y="738"/>
                  </a:lnTo>
                  <a:lnTo>
                    <a:pt x="109" y="726"/>
                  </a:lnTo>
                  <a:lnTo>
                    <a:pt x="98" y="713"/>
                  </a:lnTo>
                  <a:lnTo>
                    <a:pt x="98" y="713"/>
                  </a:lnTo>
                  <a:lnTo>
                    <a:pt x="86" y="700"/>
                  </a:lnTo>
                  <a:lnTo>
                    <a:pt x="74" y="686"/>
                  </a:lnTo>
                  <a:lnTo>
                    <a:pt x="64" y="672"/>
                  </a:lnTo>
                  <a:lnTo>
                    <a:pt x="55" y="656"/>
                  </a:lnTo>
                  <a:lnTo>
                    <a:pt x="46" y="640"/>
                  </a:lnTo>
                  <a:lnTo>
                    <a:pt x="38" y="625"/>
                  </a:lnTo>
                  <a:lnTo>
                    <a:pt x="30" y="607"/>
                  </a:lnTo>
                  <a:lnTo>
                    <a:pt x="24" y="590"/>
                  </a:lnTo>
                  <a:lnTo>
                    <a:pt x="18" y="572"/>
                  </a:lnTo>
                  <a:lnTo>
                    <a:pt x="13" y="553"/>
                  </a:lnTo>
                  <a:lnTo>
                    <a:pt x="9" y="534"/>
                  </a:lnTo>
                  <a:lnTo>
                    <a:pt x="5" y="513"/>
                  </a:lnTo>
                  <a:lnTo>
                    <a:pt x="3" y="493"/>
                  </a:lnTo>
                  <a:lnTo>
                    <a:pt x="2" y="472"/>
                  </a:lnTo>
                  <a:lnTo>
                    <a:pt x="0" y="450"/>
                  </a:lnTo>
                  <a:lnTo>
                    <a:pt x="0" y="428"/>
                  </a:lnTo>
                  <a:lnTo>
                    <a:pt x="0" y="428"/>
                  </a:lnTo>
                  <a:lnTo>
                    <a:pt x="0" y="403"/>
                  </a:lnTo>
                  <a:lnTo>
                    <a:pt x="2" y="380"/>
                  </a:lnTo>
                  <a:lnTo>
                    <a:pt x="3" y="356"/>
                  </a:lnTo>
                  <a:lnTo>
                    <a:pt x="7" y="334"/>
                  </a:lnTo>
                  <a:lnTo>
                    <a:pt x="9" y="314"/>
                  </a:lnTo>
                  <a:lnTo>
                    <a:pt x="15" y="292"/>
                  </a:lnTo>
                  <a:lnTo>
                    <a:pt x="20" y="272"/>
                  </a:lnTo>
                  <a:lnTo>
                    <a:pt x="25" y="251"/>
                  </a:lnTo>
                  <a:lnTo>
                    <a:pt x="33" y="233"/>
                  </a:lnTo>
                  <a:lnTo>
                    <a:pt x="40" y="214"/>
                  </a:lnTo>
                  <a:lnTo>
                    <a:pt x="48" y="196"/>
                  </a:lnTo>
                  <a:lnTo>
                    <a:pt x="57" y="179"/>
                  </a:lnTo>
                  <a:lnTo>
                    <a:pt x="68" y="162"/>
                  </a:lnTo>
                  <a:lnTo>
                    <a:pt x="78" y="146"/>
                  </a:lnTo>
                  <a:lnTo>
                    <a:pt x="90" y="131"/>
                  </a:lnTo>
                  <a:lnTo>
                    <a:pt x="103" y="116"/>
                  </a:lnTo>
                  <a:lnTo>
                    <a:pt x="103" y="116"/>
                  </a:lnTo>
                  <a:lnTo>
                    <a:pt x="116" y="102"/>
                  </a:lnTo>
                  <a:lnTo>
                    <a:pt x="130" y="89"/>
                  </a:lnTo>
                  <a:lnTo>
                    <a:pt x="144" y="76"/>
                  </a:lnTo>
                  <a:lnTo>
                    <a:pt x="159" y="65"/>
                  </a:lnTo>
                  <a:lnTo>
                    <a:pt x="174" y="54"/>
                  </a:lnTo>
                  <a:lnTo>
                    <a:pt x="190" y="45"/>
                  </a:lnTo>
                  <a:lnTo>
                    <a:pt x="206" y="36"/>
                  </a:lnTo>
                  <a:lnTo>
                    <a:pt x="223" y="28"/>
                  </a:lnTo>
                  <a:lnTo>
                    <a:pt x="240" y="22"/>
                  </a:lnTo>
                  <a:lnTo>
                    <a:pt x="258" y="17"/>
                  </a:lnTo>
                  <a:lnTo>
                    <a:pt x="277" y="11"/>
                  </a:lnTo>
                  <a:lnTo>
                    <a:pt x="296" y="8"/>
                  </a:lnTo>
                  <a:lnTo>
                    <a:pt x="315" y="4"/>
                  </a:lnTo>
                  <a:lnTo>
                    <a:pt x="335" y="1"/>
                  </a:lnTo>
                  <a:lnTo>
                    <a:pt x="356" y="0"/>
                  </a:lnTo>
                  <a:lnTo>
                    <a:pt x="378" y="0"/>
                  </a:lnTo>
                  <a:lnTo>
                    <a:pt x="378" y="0"/>
                  </a:lnTo>
                  <a:lnTo>
                    <a:pt x="397" y="0"/>
                  </a:lnTo>
                  <a:lnTo>
                    <a:pt x="417" y="1"/>
                  </a:lnTo>
                  <a:lnTo>
                    <a:pt x="435" y="4"/>
                  </a:lnTo>
                  <a:lnTo>
                    <a:pt x="454" y="6"/>
                  </a:lnTo>
                  <a:lnTo>
                    <a:pt x="471" y="10"/>
                  </a:lnTo>
                  <a:lnTo>
                    <a:pt x="489" y="14"/>
                  </a:lnTo>
                  <a:lnTo>
                    <a:pt x="506" y="19"/>
                  </a:lnTo>
                  <a:lnTo>
                    <a:pt x="522" y="26"/>
                  </a:lnTo>
                  <a:lnTo>
                    <a:pt x="538" y="33"/>
                  </a:lnTo>
                  <a:lnTo>
                    <a:pt x="553" y="41"/>
                  </a:lnTo>
                  <a:lnTo>
                    <a:pt x="568" y="49"/>
                  </a:lnTo>
                  <a:lnTo>
                    <a:pt x="583" y="59"/>
                  </a:lnTo>
                  <a:lnTo>
                    <a:pt x="596" y="68"/>
                  </a:lnTo>
                  <a:lnTo>
                    <a:pt x="608" y="80"/>
                  </a:lnTo>
                  <a:lnTo>
                    <a:pt x="621" y="92"/>
                  </a:lnTo>
                  <a:lnTo>
                    <a:pt x="634" y="105"/>
                  </a:lnTo>
                  <a:lnTo>
                    <a:pt x="634" y="105"/>
                  </a:lnTo>
                  <a:lnTo>
                    <a:pt x="646" y="118"/>
                  </a:lnTo>
                  <a:lnTo>
                    <a:pt x="656" y="132"/>
                  </a:lnTo>
                  <a:lnTo>
                    <a:pt x="667" y="146"/>
                  </a:lnTo>
                  <a:lnTo>
                    <a:pt x="676" y="162"/>
                  </a:lnTo>
                  <a:lnTo>
                    <a:pt x="685" y="177"/>
                  </a:lnTo>
                  <a:lnTo>
                    <a:pt x="693" y="194"/>
                  </a:lnTo>
                  <a:lnTo>
                    <a:pt x="699" y="211"/>
                  </a:lnTo>
                  <a:lnTo>
                    <a:pt x="706" y="228"/>
                  </a:lnTo>
                  <a:lnTo>
                    <a:pt x="711" y="246"/>
                  </a:lnTo>
                  <a:lnTo>
                    <a:pt x="716" y="264"/>
                  </a:lnTo>
                  <a:lnTo>
                    <a:pt x="720" y="284"/>
                  </a:lnTo>
                  <a:lnTo>
                    <a:pt x="724" y="303"/>
                  </a:lnTo>
                  <a:lnTo>
                    <a:pt x="726" y="324"/>
                  </a:lnTo>
                  <a:lnTo>
                    <a:pt x="728" y="345"/>
                  </a:lnTo>
                  <a:lnTo>
                    <a:pt x="729" y="387"/>
                  </a:lnTo>
                  <a:lnTo>
                    <a:pt x="729" y="387"/>
                  </a:lnTo>
                  <a:lnTo>
                    <a:pt x="729" y="412"/>
                  </a:lnTo>
                  <a:lnTo>
                    <a:pt x="728" y="435"/>
                  </a:lnTo>
                  <a:lnTo>
                    <a:pt x="726" y="459"/>
                  </a:lnTo>
                  <a:lnTo>
                    <a:pt x="724" y="481"/>
                  </a:lnTo>
                  <a:lnTo>
                    <a:pt x="720" y="503"/>
                  </a:lnTo>
                  <a:lnTo>
                    <a:pt x="716" y="524"/>
                  </a:lnTo>
                  <a:lnTo>
                    <a:pt x="711" y="544"/>
                  </a:lnTo>
                  <a:lnTo>
                    <a:pt x="704" y="564"/>
                  </a:lnTo>
                  <a:lnTo>
                    <a:pt x="698" y="583"/>
                  </a:lnTo>
                  <a:lnTo>
                    <a:pt x="691" y="601"/>
                  </a:lnTo>
                  <a:lnTo>
                    <a:pt x="682" y="620"/>
                  </a:lnTo>
                  <a:lnTo>
                    <a:pt x="673" y="638"/>
                  </a:lnTo>
                  <a:lnTo>
                    <a:pt x="664" y="653"/>
                  </a:lnTo>
                  <a:lnTo>
                    <a:pt x="654" y="670"/>
                  </a:lnTo>
                  <a:lnTo>
                    <a:pt x="642" y="686"/>
                  </a:lnTo>
                  <a:lnTo>
                    <a:pt x="631" y="700"/>
                  </a:lnTo>
                  <a:lnTo>
                    <a:pt x="631" y="700"/>
                  </a:lnTo>
                  <a:lnTo>
                    <a:pt x="618" y="714"/>
                  </a:lnTo>
                  <a:lnTo>
                    <a:pt x="605" y="727"/>
                  </a:lnTo>
                  <a:lnTo>
                    <a:pt x="592" y="740"/>
                  </a:lnTo>
                  <a:lnTo>
                    <a:pt x="577" y="752"/>
                  </a:lnTo>
                  <a:lnTo>
                    <a:pt x="562" y="762"/>
                  </a:lnTo>
                  <a:lnTo>
                    <a:pt x="546" y="771"/>
                  </a:lnTo>
                  <a:lnTo>
                    <a:pt x="531" y="780"/>
                  </a:lnTo>
                  <a:lnTo>
                    <a:pt x="515" y="788"/>
                  </a:lnTo>
                  <a:lnTo>
                    <a:pt x="498" y="795"/>
                  </a:lnTo>
                  <a:lnTo>
                    <a:pt x="480" y="800"/>
                  </a:lnTo>
                  <a:lnTo>
                    <a:pt x="462" y="805"/>
                  </a:lnTo>
                  <a:lnTo>
                    <a:pt x="444" y="809"/>
                  </a:lnTo>
                  <a:lnTo>
                    <a:pt x="426" y="813"/>
                  </a:lnTo>
                  <a:lnTo>
                    <a:pt x="406" y="815"/>
                  </a:lnTo>
                  <a:lnTo>
                    <a:pt x="385" y="817"/>
                  </a:lnTo>
                  <a:lnTo>
                    <a:pt x="365" y="817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26"/>
            <p:cNvSpPr>
              <a:spLocks/>
            </p:cNvSpPr>
            <p:nvPr userDrawn="1"/>
          </p:nvSpPr>
          <p:spPr bwMode="auto">
            <a:xfrm>
              <a:off x="5645" y="1252"/>
              <a:ext cx="258" cy="267"/>
            </a:xfrm>
            <a:custGeom>
              <a:avLst/>
              <a:gdLst>
                <a:gd name="T0" fmla="*/ 77 w 774"/>
                <a:gd name="T1" fmla="*/ 99 h 802"/>
                <a:gd name="T2" fmla="*/ 0 w 774"/>
                <a:gd name="T3" fmla="*/ 0 h 802"/>
                <a:gd name="T4" fmla="*/ 326 w 774"/>
                <a:gd name="T5" fmla="*/ 74 h 802"/>
                <a:gd name="T6" fmla="*/ 247 w 774"/>
                <a:gd name="T7" fmla="*/ 503 h 802"/>
                <a:gd name="T8" fmla="*/ 249 w 774"/>
                <a:gd name="T9" fmla="*/ 528 h 802"/>
                <a:gd name="T10" fmla="*/ 253 w 774"/>
                <a:gd name="T11" fmla="*/ 572 h 802"/>
                <a:gd name="T12" fmla="*/ 262 w 774"/>
                <a:gd name="T13" fmla="*/ 610 h 802"/>
                <a:gd name="T14" fmla="*/ 276 w 774"/>
                <a:gd name="T15" fmla="*/ 638 h 802"/>
                <a:gd name="T16" fmla="*/ 285 w 774"/>
                <a:gd name="T17" fmla="*/ 651 h 802"/>
                <a:gd name="T18" fmla="*/ 306 w 774"/>
                <a:gd name="T19" fmla="*/ 671 h 802"/>
                <a:gd name="T20" fmla="*/ 333 w 774"/>
                <a:gd name="T21" fmla="*/ 684 h 802"/>
                <a:gd name="T22" fmla="*/ 365 w 774"/>
                <a:gd name="T23" fmla="*/ 693 h 802"/>
                <a:gd name="T24" fmla="*/ 403 w 774"/>
                <a:gd name="T25" fmla="*/ 695 h 802"/>
                <a:gd name="T26" fmla="*/ 422 w 774"/>
                <a:gd name="T27" fmla="*/ 695 h 802"/>
                <a:gd name="T28" fmla="*/ 457 w 774"/>
                <a:gd name="T29" fmla="*/ 690 h 802"/>
                <a:gd name="T30" fmla="*/ 486 w 774"/>
                <a:gd name="T31" fmla="*/ 680 h 802"/>
                <a:gd name="T32" fmla="*/ 509 w 774"/>
                <a:gd name="T33" fmla="*/ 664 h 802"/>
                <a:gd name="T34" fmla="*/ 518 w 774"/>
                <a:gd name="T35" fmla="*/ 655 h 802"/>
                <a:gd name="T36" fmla="*/ 534 w 774"/>
                <a:gd name="T37" fmla="*/ 631 h 802"/>
                <a:gd name="T38" fmla="*/ 544 w 774"/>
                <a:gd name="T39" fmla="*/ 599 h 802"/>
                <a:gd name="T40" fmla="*/ 551 w 774"/>
                <a:gd name="T41" fmla="*/ 561 h 802"/>
                <a:gd name="T42" fmla="*/ 553 w 774"/>
                <a:gd name="T43" fmla="*/ 514 h 802"/>
                <a:gd name="T44" fmla="*/ 476 w 774"/>
                <a:gd name="T45" fmla="*/ 74 h 802"/>
                <a:gd name="T46" fmla="*/ 774 w 774"/>
                <a:gd name="T47" fmla="*/ 0 h 802"/>
                <a:gd name="T48" fmla="*/ 696 w 774"/>
                <a:gd name="T49" fmla="*/ 99 h 802"/>
                <a:gd name="T50" fmla="*/ 696 w 774"/>
                <a:gd name="T51" fmla="*/ 494 h 802"/>
                <a:gd name="T52" fmla="*/ 693 w 774"/>
                <a:gd name="T53" fmla="*/ 574 h 802"/>
                <a:gd name="T54" fmla="*/ 687 w 774"/>
                <a:gd name="T55" fmla="*/ 628 h 802"/>
                <a:gd name="T56" fmla="*/ 680 w 774"/>
                <a:gd name="T57" fmla="*/ 649 h 802"/>
                <a:gd name="T58" fmla="*/ 664 w 774"/>
                <a:gd name="T59" fmla="*/ 685 h 802"/>
                <a:gd name="T60" fmla="*/ 652 w 774"/>
                <a:gd name="T61" fmla="*/ 701 h 802"/>
                <a:gd name="T62" fmla="*/ 630 w 774"/>
                <a:gd name="T63" fmla="*/ 724 h 802"/>
                <a:gd name="T64" fmla="*/ 605 w 774"/>
                <a:gd name="T65" fmla="*/ 745 h 802"/>
                <a:gd name="T66" fmla="*/ 577 w 774"/>
                <a:gd name="T67" fmla="*/ 762 h 802"/>
                <a:gd name="T68" fmla="*/ 546 w 774"/>
                <a:gd name="T69" fmla="*/ 776 h 802"/>
                <a:gd name="T70" fmla="*/ 529 w 774"/>
                <a:gd name="T71" fmla="*/ 782 h 802"/>
                <a:gd name="T72" fmla="*/ 491 w 774"/>
                <a:gd name="T73" fmla="*/ 791 h 802"/>
                <a:gd name="T74" fmla="*/ 452 w 774"/>
                <a:gd name="T75" fmla="*/ 798 h 802"/>
                <a:gd name="T76" fmla="*/ 409 w 774"/>
                <a:gd name="T77" fmla="*/ 802 h 802"/>
                <a:gd name="T78" fmla="*/ 386 w 774"/>
                <a:gd name="T79" fmla="*/ 802 h 802"/>
                <a:gd name="T80" fmla="*/ 308 w 774"/>
                <a:gd name="T81" fmla="*/ 798 h 802"/>
                <a:gd name="T82" fmla="*/ 243 w 774"/>
                <a:gd name="T83" fmla="*/ 785 h 802"/>
                <a:gd name="T84" fmla="*/ 202 w 774"/>
                <a:gd name="T85" fmla="*/ 771 h 802"/>
                <a:gd name="T86" fmla="*/ 179 w 774"/>
                <a:gd name="T87" fmla="*/ 758 h 802"/>
                <a:gd name="T88" fmla="*/ 158 w 774"/>
                <a:gd name="T89" fmla="*/ 743 h 802"/>
                <a:gd name="T90" fmla="*/ 148 w 774"/>
                <a:gd name="T91" fmla="*/ 736 h 802"/>
                <a:gd name="T92" fmla="*/ 132 w 774"/>
                <a:gd name="T93" fmla="*/ 717 h 802"/>
                <a:gd name="T94" fmla="*/ 116 w 774"/>
                <a:gd name="T95" fmla="*/ 697 h 802"/>
                <a:gd name="T96" fmla="*/ 105 w 774"/>
                <a:gd name="T97" fmla="*/ 673 h 802"/>
                <a:gd name="T98" fmla="*/ 87 w 774"/>
                <a:gd name="T99" fmla="*/ 616 h 802"/>
                <a:gd name="T100" fmla="*/ 77 w 774"/>
                <a:gd name="T101" fmla="*/ 549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74" h="802">
                  <a:moveTo>
                    <a:pt x="77" y="510"/>
                  </a:moveTo>
                  <a:lnTo>
                    <a:pt x="77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326" y="0"/>
                  </a:lnTo>
                  <a:lnTo>
                    <a:pt x="326" y="74"/>
                  </a:lnTo>
                  <a:lnTo>
                    <a:pt x="247" y="99"/>
                  </a:lnTo>
                  <a:lnTo>
                    <a:pt x="247" y="503"/>
                  </a:lnTo>
                  <a:lnTo>
                    <a:pt x="247" y="503"/>
                  </a:lnTo>
                  <a:lnTo>
                    <a:pt x="249" y="528"/>
                  </a:lnTo>
                  <a:lnTo>
                    <a:pt x="250" y="551"/>
                  </a:lnTo>
                  <a:lnTo>
                    <a:pt x="253" y="572"/>
                  </a:lnTo>
                  <a:lnTo>
                    <a:pt x="256" y="592"/>
                  </a:lnTo>
                  <a:lnTo>
                    <a:pt x="262" y="610"/>
                  </a:lnTo>
                  <a:lnTo>
                    <a:pt x="268" y="625"/>
                  </a:lnTo>
                  <a:lnTo>
                    <a:pt x="276" y="638"/>
                  </a:lnTo>
                  <a:lnTo>
                    <a:pt x="285" y="651"/>
                  </a:lnTo>
                  <a:lnTo>
                    <a:pt x="285" y="651"/>
                  </a:lnTo>
                  <a:lnTo>
                    <a:pt x="294" y="662"/>
                  </a:lnTo>
                  <a:lnTo>
                    <a:pt x="306" y="671"/>
                  </a:lnTo>
                  <a:lnTo>
                    <a:pt x="319" y="679"/>
                  </a:lnTo>
                  <a:lnTo>
                    <a:pt x="333" y="684"/>
                  </a:lnTo>
                  <a:lnTo>
                    <a:pt x="349" y="689"/>
                  </a:lnTo>
                  <a:lnTo>
                    <a:pt x="365" y="693"/>
                  </a:lnTo>
                  <a:lnTo>
                    <a:pt x="384" y="695"/>
                  </a:lnTo>
                  <a:lnTo>
                    <a:pt x="403" y="695"/>
                  </a:lnTo>
                  <a:lnTo>
                    <a:pt x="403" y="695"/>
                  </a:lnTo>
                  <a:lnTo>
                    <a:pt x="422" y="695"/>
                  </a:lnTo>
                  <a:lnTo>
                    <a:pt x="441" y="693"/>
                  </a:lnTo>
                  <a:lnTo>
                    <a:pt x="457" y="690"/>
                  </a:lnTo>
                  <a:lnTo>
                    <a:pt x="473" y="685"/>
                  </a:lnTo>
                  <a:lnTo>
                    <a:pt x="486" y="680"/>
                  </a:lnTo>
                  <a:lnTo>
                    <a:pt x="499" y="672"/>
                  </a:lnTo>
                  <a:lnTo>
                    <a:pt x="509" y="664"/>
                  </a:lnTo>
                  <a:lnTo>
                    <a:pt x="518" y="655"/>
                  </a:lnTo>
                  <a:lnTo>
                    <a:pt x="518" y="655"/>
                  </a:lnTo>
                  <a:lnTo>
                    <a:pt x="526" y="644"/>
                  </a:lnTo>
                  <a:lnTo>
                    <a:pt x="534" y="631"/>
                  </a:lnTo>
                  <a:lnTo>
                    <a:pt x="539" y="616"/>
                  </a:lnTo>
                  <a:lnTo>
                    <a:pt x="544" y="599"/>
                  </a:lnTo>
                  <a:lnTo>
                    <a:pt x="548" y="580"/>
                  </a:lnTo>
                  <a:lnTo>
                    <a:pt x="551" y="561"/>
                  </a:lnTo>
                  <a:lnTo>
                    <a:pt x="552" y="538"/>
                  </a:lnTo>
                  <a:lnTo>
                    <a:pt x="553" y="514"/>
                  </a:lnTo>
                  <a:lnTo>
                    <a:pt x="553" y="99"/>
                  </a:lnTo>
                  <a:lnTo>
                    <a:pt x="476" y="74"/>
                  </a:lnTo>
                  <a:lnTo>
                    <a:pt x="476" y="0"/>
                  </a:lnTo>
                  <a:lnTo>
                    <a:pt x="774" y="0"/>
                  </a:lnTo>
                  <a:lnTo>
                    <a:pt x="774" y="74"/>
                  </a:lnTo>
                  <a:lnTo>
                    <a:pt x="696" y="99"/>
                  </a:lnTo>
                  <a:lnTo>
                    <a:pt x="696" y="494"/>
                  </a:lnTo>
                  <a:lnTo>
                    <a:pt x="696" y="494"/>
                  </a:lnTo>
                  <a:lnTo>
                    <a:pt x="696" y="537"/>
                  </a:lnTo>
                  <a:lnTo>
                    <a:pt x="693" y="574"/>
                  </a:lnTo>
                  <a:lnTo>
                    <a:pt x="691" y="605"/>
                  </a:lnTo>
                  <a:lnTo>
                    <a:pt x="687" y="628"/>
                  </a:lnTo>
                  <a:lnTo>
                    <a:pt x="687" y="628"/>
                  </a:lnTo>
                  <a:lnTo>
                    <a:pt x="680" y="649"/>
                  </a:lnTo>
                  <a:lnTo>
                    <a:pt x="673" y="668"/>
                  </a:lnTo>
                  <a:lnTo>
                    <a:pt x="664" y="685"/>
                  </a:lnTo>
                  <a:lnTo>
                    <a:pt x="652" y="701"/>
                  </a:lnTo>
                  <a:lnTo>
                    <a:pt x="652" y="701"/>
                  </a:lnTo>
                  <a:lnTo>
                    <a:pt x="642" y="712"/>
                  </a:lnTo>
                  <a:lnTo>
                    <a:pt x="630" y="724"/>
                  </a:lnTo>
                  <a:lnTo>
                    <a:pt x="618" y="734"/>
                  </a:lnTo>
                  <a:lnTo>
                    <a:pt x="605" y="745"/>
                  </a:lnTo>
                  <a:lnTo>
                    <a:pt x="591" y="754"/>
                  </a:lnTo>
                  <a:lnTo>
                    <a:pt x="577" y="762"/>
                  </a:lnTo>
                  <a:lnTo>
                    <a:pt x="561" y="769"/>
                  </a:lnTo>
                  <a:lnTo>
                    <a:pt x="546" y="776"/>
                  </a:lnTo>
                  <a:lnTo>
                    <a:pt x="546" y="776"/>
                  </a:lnTo>
                  <a:lnTo>
                    <a:pt x="529" y="782"/>
                  </a:lnTo>
                  <a:lnTo>
                    <a:pt x="511" y="787"/>
                  </a:lnTo>
                  <a:lnTo>
                    <a:pt x="491" y="791"/>
                  </a:lnTo>
                  <a:lnTo>
                    <a:pt x="472" y="795"/>
                  </a:lnTo>
                  <a:lnTo>
                    <a:pt x="452" y="798"/>
                  </a:lnTo>
                  <a:lnTo>
                    <a:pt x="432" y="800"/>
                  </a:lnTo>
                  <a:lnTo>
                    <a:pt x="409" y="802"/>
                  </a:lnTo>
                  <a:lnTo>
                    <a:pt x="386" y="802"/>
                  </a:lnTo>
                  <a:lnTo>
                    <a:pt x="386" y="802"/>
                  </a:lnTo>
                  <a:lnTo>
                    <a:pt x="346" y="800"/>
                  </a:lnTo>
                  <a:lnTo>
                    <a:pt x="308" y="798"/>
                  </a:lnTo>
                  <a:lnTo>
                    <a:pt x="275" y="793"/>
                  </a:lnTo>
                  <a:lnTo>
                    <a:pt x="243" y="785"/>
                  </a:lnTo>
                  <a:lnTo>
                    <a:pt x="215" y="776"/>
                  </a:lnTo>
                  <a:lnTo>
                    <a:pt x="202" y="771"/>
                  </a:lnTo>
                  <a:lnTo>
                    <a:pt x="190" y="764"/>
                  </a:lnTo>
                  <a:lnTo>
                    <a:pt x="179" y="758"/>
                  </a:lnTo>
                  <a:lnTo>
                    <a:pt x="167" y="751"/>
                  </a:lnTo>
                  <a:lnTo>
                    <a:pt x="158" y="743"/>
                  </a:lnTo>
                  <a:lnTo>
                    <a:pt x="148" y="736"/>
                  </a:lnTo>
                  <a:lnTo>
                    <a:pt x="148" y="736"/>
                  </a:lnTo>
                  <a:lnTo>
                    <a:pt x="140" y="727"/>
                  </a:lnTo>
                  <a:lnTo>
                    <a:pt x="132" y="717"/>
                  </a:lnTo>
                  <a:lnTo>
                    <a:pt x="124" y="707"/>
                  </a:lnTo>
                  <a:lnTo>
                    <a:pt x="116" y="697"/>
                  </a:lnTo>
                  <a:lnTo>
                    <a:pt x="111" y="685"/>
                  </a:lnTo>
                  <a:lnTo>
                    <a:pt x="105" y="673"/>
                  </a:lnTo>
                  <a:lnTo>
                    <a:pt x="94" y="646"/>
                  </a:lnTo>
                  <a:lnTo>
                    <a:pt x="87" y="616"/>
                  </a:lnTo>
                  <a:lnTo>
                    <a:pt x="81" y="584"/>
                  </a:lnTo>
                  <a:lnTo>
                    <a:pt x="77" y="549"/>
                  </a:lnTo>
                  <a:lnTo>
                    <a:pt x="77" y="5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27"/>
            <p:cNvSpPr>
              <a:spLocks/>
            </p:cNvSpPr>
            <p:nvPr userDrawn="1"/>
          </p:nvSpPr>
          <p:spPr bwMode="auto">
            <a:xfrm>
              <a:off x="5645" y="1252"/>
              <a:ext cx="258" cy="267"/>
            </a:xfrm>
            <a:custGeom>
              <a:avLst/>
              <a:gdLst>
                <a:gd name="T0" fmla="*/ 77 w 774"/>
                <a:gd name="T1" fmla="*/ 99 h 802"/>
                <a:gd name="T2" fmla="*/ 0 w 774"/>
                <a:gd name="T3" fmla="*/ 0 h 802"/>
                <a:gd name="T4" fmla="*/ 326 w 774"/>
                <a:gd name="T5" fmla="*/ 74 h 802"/>
                <a:gd name="T6" fmla="*/ 247 w 774"/>
                <a:gd name="T7" fmla="*/ 503 h 802"/>
                <a:gd name="T8" fmla="*/ 249 w 774"/>
                <a:gd name="T9" fmla="*/ 528 h 802"/>
                <a:gd name="T10" fmla="*/ 253 w 774"/>
                <a:gd name="T11" fmla="*/ 572 h 802"/>
                <a:gd name="T12" fmla="*/ 262 w 774"/>
                <a:gd name="T13" fmla="*/ 610 h 802"/>
                <a:gd name="T14" fmla="*/ 276 w 774"/>
                <a:gd name="T15" fmla="*/ 638 h 802"/>
                <a:gd name="T16" fmla="*/ 285 w 774"/>
                <a:gd name="T17" fmla="*/ 651 h 802"/>
                <a:gd name="T18" fmla="*/ 306 w 774"/>
                <a:gd name="T19" fmla="*/ 671 h 802"/>
                <a:gd name="T20" fmla="*/ 333 w 774"/>
                <a:gd name="T21" fmla="*/ 684 h 802"/>
                <a:gd name="T22" fmla="*/ 365 w 774"/>
                <a:gd name="T23" fmla="*/ 693 h 802"/>
                <a:gd name="T24" fmla="*/ 403 w 774"/>
                <a:gd name="T25" fmla="*/ 695 h 802"/>
                <a:gd name="T26" fmla="*/ 422 w 774"/>
                <a:gd name="T27" fmla="*/ 695 h 802"/>
                <a:gd name="T28" fmla="*/ 457 w 774"/>
                <a:gd name="T29" fmla="*/ 690 h 802"/>
                <a:gd name="T30" fmla="*/ 486 w 774"/>
                <a:gd name="T31" fmla="*/ 680 h 802"/>
                <a:gd name="T32" fmla="*/ 509 w 774"/>
                <a:gd name="T33" fmla="*/ 664 h 802"/>
                <a:gd name="T34" fmla="*/ 518 w 774"/>
                <a:gd name="T35" fmla="*/ 655 h 802"/>
                <a:gd name="T36" fmla="*/ 534 w 774"/>
                <a:gd name="T37" fmla="*/ 631 h 802"/>
                <a:gd name="T38" fmla="*/ 544 w 774"/>
                <a:gd name="T39" fmla="*/ 599 h 802"/>
                <a:gd name="T40" fmla="*/ 551 w 774"/>
                <a:gd name="T41" fmla="*/ 561 h 802"/>
                <a:gd name="T42" fmla="*/ 553 w 774"/>
                <a:gd name="T43" fmla="*/ 514 h 802"/>
                <a:gd name="T44" fmla="*/ 476 w 774"/>
                <a:gd name="T45" fmla="*/ 74 h 802"/>
                <a:gd name="T46" fmla="*/ 774 w 774"/>
                <a:gd name="T47" fmla="*/ 0 h 802"/>
                <a:gd name="T48" fmla="*/ 696 w 774"/>
                <a:gd name="T49" fmla="*/ 99 h 802"/>
                <a:gd name="T50" fmla="*/ 696 w 774"/>
                <a:gd name="T51" fmla="*/ 494 h 802"/>
                <a:gd name="T52" fmla="*/ 693 w 774"/>
                <a:gd name="T53" fmla="*/ 574 h 802"/>
                <a:gd name="T54" fmla="*/ 687 w 774"/>
                <a:gd name="T55" fmla="*/ 628 h 802"/>
                <a:gd name="T56" fmla="*/ 680 w 774"/>
                <a:gd name="T57" fmla="*/ 649 h 802"/>
                <a:gd name="T58" fmla="*/ 664 w 774"/>
                <a:gd name="T59" fmla="*/ 685 h 802"/>
                <a:gd name="T60" fmla="*/ 652 w 774"/>
                <a:gd name="T61" fmla="*/ 701 h 802"/>
                <a:gd name="T62" fmla="*/ 630 w 774"/>
                <a:gd name="T63" fmla="*/ 724 h 802"/>
                <a:gd name="T64" fmla="*/ 605 w 774"/>
                <a:gd name="T65" fmla="*/ 745 h 802"/>
                <a:gd name="T66" fmla="*/ 577 w 774"/>
                <a:gd name="T67" fmla="*/ 762 h 802"/>
                <a:gd name="T68" fmla="*/ 546 w 774"/>
                <a:gd name="T69" fmla="*/ 776 h 802"/>
                <a:gd name="T70" fmla="*/ 529 w 774"/>
                <a:gd name="T71" fmla="*/ 782 h 802"/>
                <a:gd name="T72" fmla="*/ 491 w 774"/>
                <a:gd name="T73" fmla="*/ 791 h 802"/>
                <a:gd name="T74" fmla="*/ 452 w 774"/>
                <a:gd name="T75" fmla="*/ 798 h 802"/>
                <a:gd name="T76" fmla="*/ 409 w 774"/>
                <a:gd name="T77" fmla="*/ 802 h 802"/>
                <a:gd name="T78" fmla="*/ 386 w 774"/>
                <a:gd name="T79" fmla="*/ 802 h 802"/>
                <a:gd name="T80" fmla="*/ 308 w 774"/>
                <a:gd name="T81" fmla="*/ 798 h 802"/>
                <a:gd name="T82" fmla="*/ 243 w 774"/>
                <a:gd name="T83" fmla="*/ 785 h 802"/>
                <a:gd name="T84" fmla="*/ 202 w 774"/>
                <a:gd name="T85" fmla="*/ 771 h 802"/>
                <a:gd name="T86" fmla="*/ 179 w 774"/>
                <a:gd name="T87" fmla="*/ 758 h 802"/>
                <a:gd name="T88" fmla="*/ 158 w 774"/>
                <a:gd name="T89" fmla="*/ 743 h 802"/>
                <a:gd name="T90" fmla="*/ 148 w 774"/>
                <a:gd name="T91" fmla="*/ 736 h 802"/>
                <a:gd name="T92" fmla="*/ 132 w 774"/>
                <a:gd name="T93" fmla="*/ 717 h 802"/>
                <a:gd name="T94" fmla="*/ 116 w 774"/>
                <a:gd name="T95" fmla="*/ 697 h 802"/>
                <a:gd name="T96" fmla="*/ 105 w 774"/>
                <a:gd name="T97" fmla="*/ 673 h 802"/>
                <a:gd name="T98" fmla="*/ 87 w 774"/>
                <a:gd name="T99" fmla="*/ 616 h 802"/>
                <a:gd name="T100" fmla="*/ 77 w 774"/>
                <a:gd name="T101" fmla="*/ 549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74" h="802">
                  <a:moveTo>
                    <a:pt x="77" y="510"/>
                  </a:moveTo>
                  <a:lnTo>
                    <a:pt x="77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326" y="0"/>
                  </a:lnTo>
                  <a:lnTo>
                    <a:pt x="326" y="74"/>
                  </a:lnTo>
                  <a:lnTo>
                    <a:pt x="247" y="99"/>
                  </a:lnTo>
                  <a:lnTo>
                    <a:pt x="247" y="503"/>
                  </a:lnTo>
                  <a:lnTo>
                    <a:pt x="247" y="503"/>
                  </a:lnTo>
                  <a:lnTo>
                    <a:pt x="249" y="528"/>
                  </a:lnTo>
                  <a:lnTo>
                    <a:pt x="250" y="551"/>
                  </a:lnTo>
                  <a:lnTo>
                    <a:pt x="253" y="572"/>
                  </a:lnTo>
                  <a:lnTo>
                    <a:pt x="256" y="592"/>
                  </a:lnTo>
                  <a:lnTo>
                    <a:pt x="262" y="610"/>
                  </a:lnTo>
                  <a:lnTo>
                    <a:pt x="268" y="625"/>
                  </a:lnTo>
                  <a:lnTo>
                    <a:pt x="276" y="638"/>
                  </a:lnTo>
                  <a:lnTo>
                    <a:pt x="285" y="651"/>
                  </a:lnTo>
                  <a:lnTo>
                    <a:pt x="285" y="651"/>
                  </a:lnTo>
                  <a:lnTo>
                    <a:pt x="294" y="662"/>
                  </a:lnTo>
                  <a:lnTo>
                    <a:pt x="306" y="671"/>
                  </a:lnTo>
                  <a:lnTo>
                    <a:pt x="319" y="679"/>
                  </a:lnTo>
                  <a:lnTo>
                    <a:pt x="333" y="684"/>
                  </a:lnTo>
                  <a:lnTo>
                    <a:pt x="349" y="689"/>
                  </a:lnTo>
                  <a:lnTo>
                    <a:pt x="365" y="693"/>
                  </a:lnTo>
                  <a:lnTo>
                    <a:pt x="384" y="695"/>
                  </a:lnTo>
                  <a:lnTo>
                    <a:pt x="403" y="695"/>
                  </a:lnTo>
                  <a:lnTo>
                    <a:pt x="403" y="695"/>
                  </a:lnTo>
                  <a:lnTo>
                    <a:pt x="422" y="695"/>
                  </a:lnTo>
                  <a:lnTo>
                    <a:pt x="441" y="693"/>
                  </a:lnTo>
                  <a:lnTo>
                    <a:pt x="457" y="690"/>
                  </a:lnTo>
                  <a:lnTo>
                    <a:pt x="473" y="685"/>
                  </a:lnTo>
                  <a:lnTo>
                    <a:pt x="486" y="680"/>
                  </a:lnTo>
                  <a:lnTo>
                    <a:pt x="499" y="672"/>
                  </a:lnTo>
                  <a:lnTo>
                    <a:pt x="509" y="664"/>
                  </a:lnTo>
                  <a:lnTo>
                    <a:pt x="518" y="655"/>
                  </a:lnTo>
                  <a:lnTo>
                    <a:pt x="518" y="655"/>
                  </a:lnTo>
                  <a:lnTo>
                    <a:pt x="526" y="644"/>
                  </a:lnTo>
                  <a:lnTo>
                    <a:pt x="534" y="631"/>
                  </a:lnTo>
                  <a:lnTo>
                    <a:pt x="539" y="616"/>
                  </a:lnTo>
                  <a:lnTo>
                    <a:pt x="544" y="599"/>
                  </a:lnTo>
                  <a:lnTo>
                    <a:pt x="548" y="580"/>
                  </a:lnTo>
                  <a:lnTo>
                    <a:pt x="551" y="561"/>
                  </a:lnTo>
                  <a:lnTo>
                    <a:pt x="552" y="538"/>
                  </a:lnTo>
                  <a:lnTo>
                    <a:pt x="553" y="514"/>
                  </a:lnTo>
                  <a:lnTo>
                    <a:pt x="553" y="99"/>
                  </a:lnTo>
                  <a:lnTo>
                    <a:pt x="476" y="74"/>
                  </a:lnTo>
                  <a:lnTo>
                    <a:pt x="476" y="0"/>
                  </a:lnTo>
                  <a:lnTo>
                    <a:pt x="774" y="0"/>
                  </a:lnTo>
                  <a:lnTo>
                    <a:pt x="774" y="74"/>
                  </a:lnTo>
                  <a:lnTo>
                    <a:pt x="696" y="99"/>
                  </a:lnTo>
                  <a:lnTo>
                    <a:pt x="696" y="494"/>
                  </a:lnTo>
                  <a:lnTo>
                    <a:pt x="696" y="494"/>
                  </a:lnTo>
                  <a:lnTo>
                    <a:pt x="696" y="537"/>
                  </a:lnTo>
                  <a:lnTo>
                    <a:pt x="693" y="574"/>
                  </a:lnTo>
                  <a:lnTo>
                    <a:pt x="691" y="605"/>
                  </a:lnTo>
                  <a:lnTo>
                    <a:pt x="687" y="628"/>
                  </a:lnTo>
                  <a:lnTo>
                    <a:pt x="687" y="628"/>
                  </a:lnTo>
                  <a:lnTo>
                    <a:pt x="680" y="649"/>
                  </a:lnTo>
                  <a:lnTo>
                    <a:pt x="673" y="668"/>
                  </a:lnTo>
                  <a:lnTo>
                    <a:pt x="664" y="685"/>
                  </a:lnTo>
                  <a:lnTo>
                    <a:pt x="652" y="701"/>
                  </a:lnTo>
                  <a:lnTo>
                    <a:pt x="652" y="701"/>
                  </a:lnTo>
                  <a:lnTo>
                    <a:pt x="642" y="712"/>
                  </a:lnTo>
                  <a:lnTo>
                    <a:pt x="630" y="724"/>
                  </a:lnTo>
                  <a:lnTo>
                    <a:pt x="618" y="734"/>
                  </a:lnTo>
                  <a:lnTo>
                    <a:pt x="605" y="745"/>
                  </a:lnTo>
                  <a:lnTo>
                    <a:pt x="591" y="754"/>
                  </a:lnTo>
                  <a:lnTo>
                    <a:pt x="577" y="762"/>
                  </a:lnTo>
                  <a:lnTo>
                    <a:pt x="561" y="769"/>
                  </a:lnTo>
                  <a:lnTo>
                    <a:pt x="546" y="776"/>
                  </a:lnTo>
                  <a:lnTo>
                    <a:pt x="546" y="776"/>
                  </a:lnTo>
                  <a:lnTo>
                    <a:pt x="529" y="782"/>
                  </a:lnTo>
                  <a:lnTo>
                    <a:pt x="511" y="787"/>
                  </a:lnTo>
                  <a:lnTo>
                    <a:pt x="491" y="791"/>
                  </a:lnTo>
                  <a:lnTo>
                    <a:pt x="472" y="795"/>
                  </a:lnTo>
                  <a:lnTo>
                    <a:pt x="452" y="798"/>
                  </a:lnTo>
                  <a:lnTo>
                    <a:pt x="432" y="800"/>
                  </a:lnTo>
                  <a:lnTo>
                    <a:pt x="409" y="802"/>
                  </a:lnTo>
                  <a:lnTo>
                    <a:pt x="386" y="802"/>
                  </a:lnTo>
                  <a:lnTo>
                    <a:pt x="386" y="802"/>
                  </a:lnTo>
                  <a:lnTo>
                    <a:pt x="346" y="800"/>
                  </a:lnTo>
                  <a:lnTo>
                    <a:pt x="308" y="798"/>
                  </a:lnTo>
                  <a:lnTo>
                    <a:pt x="275" y="793"/>
                  </a:lnTo>
                  <a:lnTo>
                    <a:pt x="243" y="785"/>
                  </a:lnTo>
                  <a:lnTo>
                    <a:pt x="215" y="776"/>
                  </a:lnTo>
                  <a:lnTo>
                    <a:pt x="202" y="771"/>
                  </a:lnTo>
                  <a:lnTo>
                    <a:pt x="190" y="764"/>
                  </a:lnTo>
                  <a:lnTo>
                    <a:pt x="179" y="758"/>
                  </a:lnTo>
                  <a:lnTo>
                    <a:pt x="167" y="751"/>
                  </a:lnTo>
                  <a:lnTo>
                    <a:pt x="158" y="743"/>
                  </a:lnTo>
                  <a:lnTo>
                    <a:pt x="148" y="736"/>
                  </a:lnTo>
                  <a:lnTo>
                    <a:pt x="148" y="736"/>
                  </a:lnTo>
                  <a:lnTo>
                    <a:pt x="140" y="727"/>
                  </a:lnTo>
                  <a:lnTo>
                    <a:pt x="132" y="717"/>
                  </a:lnTo>
                  <a:lnTo>
                    <a:pt x="124" y="707"/>
                  </a:lnTo>
                  <a:lnTo>
                    <a:pt x="116" y="697"/>
                  </a:lnTo>
                  <a:lnTo>
                    <a:pt x="111" y="685"/>
                  </a:lnTo>
                  <a:lnTo>
                    <a:pt x="105" y="673"/>
                  </a:lnTo>
                  <a:lnTo>
                    <a:pt x="94" y="646"/>
                  </a:lnTo>
                  <a:lnTo>
                    <a:pt x="87" y="616"/>
                  </a:lnTo>
                  <a:lnTo>
                    <a:pt x="81" y="584"/>
                  </a:lnTo>
                  <a:lnTo>
                    <a:pt x="77" y="549"/>
                  </a:lnTo>
                  <a:lnTo>
                    <a:pt x="77" y="51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28"/>
            <p:cNvSpPr>
              <a:spLocks/>
            </p:cNvSpPr>
            <p:nvPr userDrawn="1"/>
          </p:nvSpPr>
          <p:spPr bwMode="auto">
            <a:xfrm>
              <a:off x="5423" y="1252"/>
              <a:ext cx="192" cy="262"/>
            </a:xfrm>
            <a:custGeom>
              <a:avLst/>
              <a:gdLst>
                <a:gd name="T0" fmla="*/ 575 w 575"/>
                <a:gd name="T1" fmla="*/ 786 h 786"/>
                <a:gd name="T2" fmla="*/ 0 w 575"/>
                <a:gd name="T3" fmla="*/ 786 h 786"/>
                <a:gd name="T4" fmla="*/ 0 w 575"/>
                <a:gd name="T5" fmla="*/ 711 h 786"/>
                <a:gd name="T6" fmla="*/ 78 w 575"/>
                <a:gd name="T7" fmla="*/ 688 h 786"/>
                <a:gd name="T8" fmla="*/ 78 w 575"/>
                <a:gd name="T9" fmla="*/ 99 h 786"/>
                <a:gd name="T10" fmla="*/ 0 w 575"/>
                <a:gd name="T11" fmla="*/ 74 h 786"/>
                <a:gd name="T12" fmla="*/ 0 w 575"/>
                <a:gd name="T13" fmla="*/ 0 h 786"/>
                <a:gd name="T14" fmla="*/ 326 w 575"/>
                <a:gd name="T15" fmla="*/ 0 h 786"/>
                <a:gd name="T16" fmla="*/ 326 w 575"/>
                <a:gd name="T17" fmla="*/ 74 h 786"/>
                <a:gd name="T18" fmla="*/ 248 w 575"/>
                <a:gd name="T19" fmla="*/ 99 h 786"/>
                <a:gd name="T20" fmla="*/ 248 w 575"/>
                <a:gd name="T21" fmla="*/ 688 h 786"/>
                <a:gd name="T22" fmla="*/ 400 w 575"/>
                <a:gd name="T23" fmla="*/ 688 h 786"/>
                <a:gd name="T24" fmla="*/ 441 w 575"/>
                <a:gd name="T25" fmla="*/ 585 h 786"/>
                <a:gd name="T26" fmla="*/ 575 w 575"/>
                <a:gd name="T27" fmla="*/ 585 h 786"/>
                <a:gd name="T28" fmla="*/ 575 w 575"/>
                <a:gd name="T29" fmla="*/ 786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5" h="786">
                  <a:moveTo>
                    <a:pt x="575" y="786"/>
                  </a:moveTo>
                  <a:lnTo>
                    <a:pt x="0" y="786"/>
                  </a:lnTo>
                  <a:lnTo>
                    <a:pt x="0" y="711"/>
                  </a:lnTo>
                  <a:lnTo>
                    <a:pt x="78" y="688"/>
                  </a:lnTo>
                  <a:lnTo>
                    <a:pt x="78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326" y="0"/>
                  </a:lnTo>
                  <a:lnTo>
                    <a:pt x="326" y="74"/>
                  </a:lnTo>
                  <a:lnTo>
                    <a:pt x="248" y="99"/>
                  </a:lnTo>
                  <a:lnTo>
                    <a:pt x="248" y="688"/>
                  </a:lnTo>
                  <a:lnTo>
                    <a:pt x="400" y="688"/>
                  </a:lnTo>
                  <a:lnTo>
                    <a:pt x="441" y="585"/>
                  </a:lnTo>
                  <a:lnTo>
                    <a:pt x="575" y="585"/>
                  </a:lnTo>
                  <a:lnTo>
                    <a:pt x="575" y="78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29"/>
            <p:cNvSpPr>
              <a:spLocks/>
            </p:cNvSpPr>
            <p:nvPr userDrawn="1"/>
          </p:nvSpPr>
          <p:spPr bwMode="auto">
            <a:xfrm>
              <a:off x="5423" y="1252"/>
              <a:ext cx="192" cy="262"/>
            </a:xfrm>
            <a:custGeom>
              <a:avLst/>
              <a:gdLst>
                <a:gd name="T0" fmla="*/ 575 w 575"/>
                <a:gd name="T1" fmla="*/ 786 h 786"/>
                <a:gd name="T2" fmla="*/ 0 w 575"/>
                <a:gd name="T3" fmla="*/ 786 h 786"/>
                <a:gd name="T4" fmla="*/ 0 w 575"/>
                <a:gd name="T5" fmla="*/ 711 h 786"/>
                <a:gd name="T6" fmla="*/ 78 w 575"/>
                <a:gd name="T7" fmla="*/ 688 h 786"/>
                <a:gd name="T8" fmla="*/ 78 w 575"/>
                <a:gd name="T9" fmla="*/ 99 h 786"/>
                <a:gd name="T10" fmla="*/ 0 w 575"/>
                <a:gd name="T11" fmla="*/ 74 h 786"/>
                <a:gd name="T12" fmla="*/ 0 w 575"/>
                <a:gd name="T13" fmla="*/ 0 h 786"/>
                <a:gd name="T14" fmla="*/ 326 w 575"/>
                <a:gd name="T15" fmla="*/ 0 h 786"/>
                <a:gd name="T16" fmla="*/ 326 w 575"/>
                <a:gd name="T17" fmla="*/ 74 h 786"/>
                <a:gd name="T18" fmla="*/ 248 w 575"/>
                <a:gd name="T19" fmla="*/ 99 h 786"/>
                <a:gd name="T20" fmla="*/ 248 w 575"/>
                <a:gd name="T21" fmla="*/ 688 h 786"/>
                <a:gd name="T22" fmla="*/ 400 w 575"/>
                <a:gd name="T23" fmla="*/ 688 h 786"/>
                <a:gd name="T24" fmla="*/ 441 w 575"/>
                <a:gd name="T25" fmla="*/ 585 h 786"/>
                <a:gd name="T26" fmla="*/ 575 w 575"/>
                <a:gd name="T27" fmla="*/ 585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5" h="786">
                  <a:moveTo>
                    <a:pt x="575" y="786"/>
                  </a:moveTo>
                  <a:lnTo>
                    <a:pt x="0" y="786"/>
                  </a:lnTo>
                  <a:lnTo>
                    <a:pt x="0" y="711"/>
                  </a:lnTo>
                  <a:lnTo>
                    <a:pt x="78" y="688"/>
                  </a:lnTo>
                  <a:lnTo>
                    <a:pt x="78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326" y="0"/>
                  </a:lnTo>
                  <a:lnTo>
                    <a:pt x="326" y="74"/>
                  </a:lnTo>
                  <a:lnTo>
                    <a:pt x="248" y="99"/>
                  </a:lnTo>
                  <a:lnTo>
                    <a:pt x="248" y="688"/>
                  </a:lnTo>
                  <a:lnTo>
                    <a:pt x="400" y="688"/>
                  </a:lnTo>
                  <a:lnTo>
                    <a:pt x="441" y="585"/>
                  </a:lnTo>
                  <a:lnTo>
                    <a:pt x="575" y="585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30"/>
            <p:cNvSpPr>
              <a:spLocks/>
            </p:cNvSpPr>
            <p:nvPr userDrawn="1"/>
          </p:nvSpPr>
          <p:spPr bwMode="auto">
            <a:xfrm>
              <a:off x="5172" y="1255"/>
              <a:ext cx="214" cy="265"/>
            </a:xfrm>
            <a:custGeom>
              <a:avLst/>
              <a:gdLst>
                <a:gd name="T0" fmla="*/ 0 w 641"/>
                <a:gd name="T1" fmla="*/ 395 h 795"/>
                <a:gd name="T2" fmla="*/ 402 w 641"/>
                <a:gd name="T3" fmla="*/ 0 h 795"/>
                <a:gd name="T4" fmla="*/ 639 w 641"/>
                <a:gd name="T5" fmla="*/ 0 h 795"/>
                <a:gd name="T6" fmla="*/ 236 w 641"/>
                <a:gd name="T7" fmla="*/ 393 h 795"/>
                <a:gd name="T8" fmla="*/ 641 w 641"/>
                <a:gd name="T9" fmla="*/ 795 h 795"/>
                <a:gd name="T10" fmla="*/ 402 w 641"/>
                <a:gd name="T11" fmla="*/ 795 h 795"/>
                <a:gd name="T12" fmla="*/ 0 w 641"/>
                <a:gd name="T13" fmla="*/ 395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1" h="795">
                  <a:moveTo>
                    <a:pt x="0" y="395"/>
                  </a:moveTo>
                  <a:lnTo>
                    <a:pt x="402" y="0"/>
                  </a:lnTo>
                  <a:lnTo>
                    <a:pt x="639" y="0"/>
                  </a:lnTo>
                  <a:lnTo>
                    <a:pt x="236" y="393"/>
                  </a:lnTo>
                  <a:lnTo>
                    <a:pt x="641" y="795"/>
                  </a:lnTo>
                  <a:lnTo>
                    <a:pt x="402" y="795"/>
                  </a:lnTo>
                  <a:lnTo>
                    <a:pt x="0" y="39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1"/>
            <p:cNvSpPr>
              <a:spLocks/>
            </p:cNvSpPr>
            <p:nvPr userDrawn="1"/>
          </p:nvSpPr>
          <p:spPr bwMode="auto">
            <a:xfrm>
              <a:off x="5529" y="1659"/>
              <a:ext cx="265" cy="213"/>
            </a:xfrm>
            <a:custGeom>
              <a:avLst/>
              <a:gdLst>
                <a:gd name="T0" fmla="*/ 394 w 795"/>
                <a:gd name="T1" fmla="*/ 639 h 639"/>
                <a:gd name="T2" fmla="*/ 0 w 795"/>
                <a:gd name="T3" fmla="*/ 237 h 639"/>
                <a:gd name="T4" fmla="*/ 0 w 795"/>
                <a:gd name="T5" fmla="*/ 0 h 639"/>
                <a:gd name="T6" fmla="*/ 393 w 795"/>
                <a:gd name="T7" fmla="*/ 404 h 639"/>
                <a:gd name="T8" fmla="*/ 795 w 795"/>
                <a:gd name="T9" fmla="*/ 0 h 639"/>
                <a:gd name="T10" fmla="*/ 795 w 795"/>
                <a:gd name="T11" fmla="*/ 237 h 639"/>
                <a:gd name="T12" fmla="*/ 394 w 795"/>
                <a:gd name="T13" fmla="*/ 639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5" h="639">
                  <a:moveTo>
                    <a:pt x="394" y="639"/>
                  </a:moveTo>
                  <a:lnTo>
                    <a:pt x="0" y="237"/>
                  </a:lnTo>
                  <a:lnTo>
                    <a:pt x="0" y="0"/>
                  </a:lnTo>
                  <a:lnTo>
                    <a:pt x="393" y="404"/>
                  </a:lnTo>
                  <a:lnTo>
                    <a:pt x="795" y="0"/>
                  </a:lnTo>
                  <a:lnTo>
                    <a:pt x="795" y="237"/>
                  </a:lnTo>
                  <a:lnTo>
                    <a:pt x="394" y="63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2"/>
            <p:cNvSpPr>
              <a:spLocks/>
            </p:cNvSpPr>
            <p:nvPr userDrawn="1"/>
          </p:nvSpPr>
          <p:spPr bwMode="auto">
            <a:xfrm>
              <a:off x="5529" y="892"/>
              <a:ext cx="265" cy="213"/>
            </a:xfrm>
            <a:custGeom>
              <a:avLst/>
              <a:gdLst>
                <a:gd name="T0" fmla="*/ 401 w 795"/>
                <a:gd name="T1" fmla="*/ 0 h 638"/>
                <a:gd name="T2" fmla="*/ 795 w 795"/>
                <a:gd name="T3" fmla="*/ 399 h 638"/>
                <a:gd name="T4" fmla="*/ 795 w 795"/>
                <a:gd name="T5" fmla="*/ 638 h 638"/>
                <a:gd name="T6" fmla="*/ 402 w 795"/>
                <a:gd name="T7" fmla="*/ 235 h 638"/>
                <a:gd name="T8" fmla="*/ 0 w 795"/>
                <a:gd name="T9" fmla="*/ 638 h 638"/>
                <a:gd name="T10" fmla="*/ 0 w 795"/>
                <a:gd name="T11" fmla="*/ 399 h 638"/>
                <a:gd name="T12" fmla="*/ 401 w 795"/>
                <a:gd name="T13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5" h="638">
                  <a:moveTo>
                    <a:pt x="401" y="0"/>
                  </a:moveTo>
                  <a:lnTo>
                    <a:pt x="795" y="399"/>
                  </a:lnTo>
                  <a:lnTo>
                    <a:pt x="795" y="638"/>
                  </a:lnTo>
                  <a:lnTo>
                    <a:pt x="402" y="235"/>
                  </a:lnTo>
                  <a:lnTo>
                    <a:pt x="0" y="638"/>
                  </a:lnTo>
                  <a:lnTo>
                    <a:pt x="0" y="399"/>
                  </a:lnTo>
                  <a:lnTo>
                    <a:pt x="40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088187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rostokąt 2"/>
          <p:cNvSpPr/>
          <p:nvPr userDrawn="1"/>
        </p:nvSpPr>
        <p:spPr>
          <a:xfrm>
            <a:off x="793" y="0"/>
            <a:ext cx="9144000" cy="514350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>
              <a:ln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77" name="Tytuł 1"/>
          <p:cNvSpPr>
            <a:spLocks noGrp="1"/>
          </p:cNvSpPr>
          <p:nvPr>
            <p:ph type="title" hasCustomPrompt="1"/>
          </p:nvPr>
        </p:nvSpPr>
        <p:spPr>
          <a:xfrm>
            <a:off x="3933825" y="1496625"/>
            <a:ext cx="4953436" cy="2291750"/>
          </a:xfrm>
        </p:spPr>
        <p:txBody>
          <a:bodyPr anchor="ctr"/>
          <a:lstStyle>
            <a:lvl1pPr algn="l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EDIT TITLE</a:t>
            </a:r>
            <a:endParaRPr lang="en-US" dirty="0"/>
          </a:p>
        </p:txBody>
      </p:sp>
      <p:grpSp>
        <p:nvGrpSpPr>
          <p:cNvPr id="95" name="Group 35"/>
          <p:cNvGrpSpPr>
            <a:grpSpLocks noChangeAspect="1"/>
          </p:cNvGrpSpPr>
          <p:nvPr userDrawn="1"/>
        </p:nvGrpSpPr>
        <p:grpSpPr bwMode="auto">
          <a:xfrm>
            <a:off x="609601" y="849169"/>
            <a:ext cx="2507458" cy="3026386"/>
            <a:chOff x="2363" y="293"/>
            <a:chExt cx="1208" cy="1458"/>
          </a:xfrm>
        </p:grpSpPr>
        <p:sp>
          <p:nvSpPr>
            <p:cNvPr id="96" name="Freeform 36"/>
            <p:cNvSpPr>
              <a:spLocks/>
            </p:cNvSpPr>
            <p:nvPr userDrawn="1"/>
          </p:nvSpPr>
          <p:spPr bwMode="auto">
            <a:xfrm>
              <a:off x="2943" y="1403"/>
              <a:ext cx="130" cy="117"/>
            </a:xfrm>
            <a:custGeom>
              <a:avLst/>
              <a:gdLst>
                <a:gd name="T0" fmla="*/ 130 w 130"/>
                <a:gd name="T1" fmla="*/ 0 h 117"/>
                <a:gd name="T2" fmla="*/ 129 w 130"/>
                <a:gd name="T3" fmla="*/ 0 h 117"/>
                <a:gd name="T4" fmla="*/ 0 w 130"/>
                <a:gd name="T5" fmla="*/ 11 h 117"/>
                <a:gd name="T6" fmla="*/ 74 w 130"/>
                <a:gd name="T7" fmla="*/ 117 h 117"/>
                <a:gd name="T8" fmla="*/ 74 w 130"/>
                <a:gd name="T9" fmla="*/ 117 h 117"/>
                <a:gd name="T10" fmla="*/ 130 w 130"/>
                <a:gd name="T1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117">
                  <a:moveTo>
                    <a:pt x="130" y="0"/>
                  </a:moveTo>
                  <a:lnTo>
                    <a:pt x="129" y="0"/>
                  </a:lnTo>
                  <a:lnTo>
                    <a:pt x="0" y="11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130" y="0"/>
                  </a:lnTo>
                  <a:close/>
                </a:path>
              </a:pathLst>
            </a:custGeom>
            <a:solidFill>
              <a:srgbClr val="124F9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37"/>
            <p:cNvSpPr>
              <a:spLocks/>
            </p:cNvSpPr>
            <p:nvPr userDrawn="1"/>
          </p:nvSpPr>
          <p:spPr bwMode="auto">
            <a:xfrm>
              <a:off x="2943" y="1403"/>
              <a:ext cx="130" cy="117"/>
            </a:xfrm>
            <a:custGeom>
              <a:avLst/>
              <a:gdLst>
                <a:gd name="T0" fmla="*/ 130 w 130"/>
                <a:gd name="T1" fmla="*/ 0 h 117"/>
                <a:gd name="T2" fmla="*/ 129 w 130"/>
                <a:gd name="T3" fmla="*/ 0 h 117"/>
                <a:gd name="T4" fmla="*/ 0 w 130"/>
                <a:gd name="T5" fmla="*/ 11 h 117"/>
                <a:gd name="T6" fmla="*/ 74 w 130"/>
                <a:gd name="T7" fmla="*/ 117 h 117"/>
                <a:gd name="T8" fmla="*/ 74 w 130"/>
                <a:gd name="T9" fmla="*/ 117 h 117"/>
                <a:gd name="T10" fmla="*/ 130 w 130"/>
                <a:gd name="T1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0" h="117">
                  <a:moveTo>
                    <a:pt x="130" y="0"/>
                  </a:moveTo>
                  <a:lnTo>
                    <a:pt x="129" y="0"/>
                  </a:lnTo>
                  <a:lnTo>
                    <a:pt x="0" y="11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13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38"/>
            <p:cNvSpPr>
              <a:spLocks/>
            </p:cNvSpPr>
            <p:nvPr userDrawn="1"/>
          </p:nvSpPr>
          <p:spPr bwMode="auto">
            <a:xfrm>
              <a:off x="3194" y="1021"/>
              <a:ext cx="83" cy="84"/>
            </a:xfrm>
            <a:custGeom>
              <a:avLst/>
              <a:gdLst>
                <a:gd name="T0" fmla="*/ 26 w 83"/>
                <a:gd name="T1" fmla="*/ 0 h 84"/>
                <a:gd name="T2" fmla="*/ 0 w 83"/>
                <a:gd name="T3" fmla="*/ 57 h 84"/>
                <a:gd name="T4" fmla="*/ 57 w 83"/>
                <a:gd name="T5" fmla="*/ 84 h 84"/>
                <a:gd name="T6" fmla="*/ 57 w 83"/>
                <a:gd name="T7" fmla="*/ 84 h 84"/>
                <a:gd name="T8" fmla="*/ 83 w 83"/>
                <a:gd name="T9" fmla="*/ 26 h 84"/>
                <a:gd name="T10" fmla="*/ 26 w 83"/>
                <a:gd name="T11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26" y="0"/>
                  </a:moveTo>
                  <a:lnTo>
                    <a:pt x="0" y="57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83" y="26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3D649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39"/>
            <p:cNvSpPr>
              <a:spLocks/>
            </p:cNvSpPr>
            <p:nvPr userDrawn="1"/>
          </p:nvSpPr>
          <p:spPr bwMode="auto">
            <a:xfrm>
              <a:off x="3194" y="1021"/>
              <a:ext cx="83" cy="84"/>
            </a:xfrm>
            <a:custGeom>
              <a:avLst/>
              <a:gdLst>
                <a:gd name="T0" fmla="*/ 26 w 83"/>
                <a:gd name="T1" fmla="*/ 0 h 84"/>
                <a:gd name="T2" fmla="*/ 0 w 83"/>
                <a:gd name="T3" fmla="*/ 57 h 84"/>
                <a:gd name="T4" fmla="*/ 57 w 83"/>
                <a:gd name="T5" fmla="*/ 84 h 84"/>
                <a:gd name="T6" fmla="*/ 57 w 83"/>
                <a:gd name="T7" fmla="*/ 84 h 84"/>
                <a:gd name="T8" fmla="*/ 83 w 83"/>
                <a:gd name="T9" fmla="*/ 26 h 84"/>
                <a:gd name="T10" fmla="*/ 26 w 83"/>
                <a:gd name="T11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26" y="0"/>
                  </a:moveTo>
                  <a:lnTo>
                    <a:pt x="0" y="57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83" y="26"/>
                  </a:lnTo>
                  <a:lnTo>
                    <a:pt x="2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41"/>
            <p:cNvSpPr>
              <a:spLocks/>
            </p:cNvSpPr>
            <p:nvPr userDrawn="1"/>
          </p:nvSpPr>
          <p:spPr bwMode="auto">
            <a:xfrm>
              <a:off x="2796" y="1709"/>
              <a:ext cx="43" cy="42"/>
            </a:xfrm>
            <a:custGeom>
              <a:avLst/>
              <a:gdLst>
                <a:gd name="T0" fmla="*/ 5 w 43"/>
                <a:gd name="T1" fmla="*/ 0 h 42"/>
                <a:gd name="T2" fmla="*/ 5 w 43"/>
                <a:gd name="T3" fmla="*/ 0 h 42"/>
                <a:gd name="T4" fmla="*/ 0 w 43"/>
                <a:gd name="T5" fmla="*/ 38 h 42"/>
                <a:gd name="T6" fmla="*/ 38 w 43"/>
                <a:gd name="T7" fmla="*/ 42 h 42"/>
                <a:gd name="T8" fmla="*/ 43 w 43"/>
                <a:gd name="T9" fmla="*/ 5 h 42"/>
                <a:gd name="T10" fmla="*/ 43 w 43"/>
                <a:gd name="T11" fmla="*/ 5 h 42"/>
                <a:gd name="T12" fmla="*/ 5 w 43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42">
                  <a:moveTo>
                    <a:pt x="5" y="0"/>
                  </a:moveTo>
                  <a:lnTo>
                    <a:pt x="5" y="0"/>
                  </a:lnTo>
                  <a:lnTo>
                    <a:pt x="0" y="38"/>
                  </a:lnTo>
                  <a:lnTo>
                    <a:pt x="38" y="42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5" y="0"/>
                  </a:lnTo>
                </a:path>
              </a:pathLst>
            </a:custGeom>
            <a:solidFill>
              <a:srgbClr val="14509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42"/>
            <p:cNvSpPr>
              <a:spLocks/>
            </p:cNvSpPr>
            <p:nvPr userDrawn="1"/>
          </p:nvSpPr>
          <p:spPr bwMode="auto">
            <a:xfrm>
              <a:off x="2363" y="293"/>
              <a:ext cx="86" cy="79"/>
            </a:xfrm>
            <a:custGeom>
              <a:avLst/>
              <a:gdLst>
                <a:gd name="T0" fmla="*/ 0 w 86"/>
                <a:gd name="T1" fmla="*/ 0 h 79"/>
                <a:gd name="T2" fmla="*/ 0 w 86"/>
                <a:gd name="T3" fmla="*/ 0 h 79"/>
                <a:gd name="T4" fmla="*/ 37 w 86"/>
                <a:gd name="T5" fmla="*/ 79 h 79"/>
                <a:gd name="T6" fmla="*/ 37 w 86"/>
                <a:gd name="T7" fmla="*/ 79 h 79"/>
                <a:gd name="T8" fmla="*/ 86 w 86"/>
                <a:gd name="T9" fmla="*/ 7 h 79"/>
                <a:gd name="T10" fmla="*/ 0 w 86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79">
                  <a:moveTo>
                    <a:pt x="0" y="0"/>
                  </a:moveTo>
                  <a:lnTo>
                    <a:pt x="0" y="0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86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D458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3"/>
            <p:cNvSpPr>
              <a:spLocks/>
            </p:cNvSpPr>
            <p:nvPr userDrawn="1"/>
          </p:nvSpPr>
          <p:spPr bwMode="auto">
            <a:xfrm>
              <a:off x="2363" y="293"/>
              <a:ext cx="86" cy="79"/>
            </a:xfrm>
            <a:custGeom>
              <a:avLst/>
              <a:gdLst>
                <a:gd name="T0" fmla="*/ 0 w 86"/>
                <a:gd name="T1" fmla="*/ 0 h 79"/>
                <a:gd name="T2" fmla="*/ 0 w 86"/>
                <a:gd name="T3" fmla="*/ 0 h 79"/>
                <a:gd name="T4" fmla="*/ 37 w 86"/>
                <a:gd name="T5" fmla="*/ 79 h 79"/>
                <a:gd name="T6" fmla="*/ 37 w 86"/>
                <a:gd name="T7" fmla="*/ 79 h 79"/>
                <a:gd name="T8" fmla="*/ 86 w 86"/>
                <a:gd name="T9" fmla="*/ 7 h 79"/>
                <a:gd name="T10" fmla="*/ 0 w 86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79">
                  <a:moveTo>
                    <a:pt x="0" y="0"/>
                  </a:moveTo>
                  <a:lnTo>
                    <a:pt x="0" y="0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86" y="7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44"/>
            <p:cNvSpPr>
              <a:spLocks/>
            </p:cNvSpPr>
            <p:nvPr userDrawn="1"/>
          </p:nvSpPr>
          <p:spPr bwMode="auto">
            <a:xfrm>
              <a:off x="2771" y="366"/>
              <a:ext cx="66" cy="62"/>
            </a:xfrm>
            <a:custGeom>
              <a:avLst/>
              <a:gdLst>
                <a:gd name="T0" fmla="*/ 48 w 90"/>
                <a:gd name="T1" fmla="*/ 0 h 84"/>
                <a:gd name="T2" fmla="*/ 30 w 90"/>
                <a:gd name="T3" fmla="*/ 4 h 84"/>
                <a:gd name="T4" fmla="*/ 10 w 90"/>
                <a:gd name="T5" fmla="*/ 60 h 84"/>
                <a:gd name="T6" fmla="*/ 48 w 90"/>
                <a:gd name="T7" fmla="*/ 84 h 84"/>
                <a:gd name="T8" fmla="*/ 49 w 90"/>
                <a:gd name="T9" fmla="*/ 84 h 84"/>
                <a:gd name="T10" fmla="*/ 66 w 90"/>
                <a:gd name="T11" fmla="*/ 80 h 84"/>
                <a:gd name="T12" fmla="*/ 90 w 90"/>
                <a:gd name="T13" fmla="*/ 43 h 84"/>
                <a:gd name="T14" fmla="*/ 90 w 90"/>
                <a:gd name="T15" fmla="*/ 41 h 84"/>
                <a:gd name="T16" fmla="*/ 86 w 90"/>
                <a:gd name="T17" fmla="*/ 24 h 84"/>
                <a:gd name="T18" fmla="*/ 48 w 90"/>
                <a:gd name="T1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4">
                  <a:moveTo>
                    <a:pt x="48" y="0"/>
                  </a:moveTo>
                  <a:cubicBezTo>
                    <a:pt x="42" y="0"/>
                    <a:pt x="36" y="1"/>
                    <a:pt x="30" y="4"/>
                  </a:cubicBezTo>
                  <a:cubicBezTo>
                    <a:pt x="9" y="14"/>
                    <a:pt x="0" y="39"/>
                    <a:pt x="10" y="60"/>
                  </a:cubicBezTo>
                  <a:cubicBezTo>
                    <a:pt x="17" y="75"/>
                    <a:pt x="32" y="84"/>
                    <a:pt x="48" y="84"/>
                  </a:cubicBezTo>
                  <a:cubicBezTo>
                    <a:pt x="49" y="84"/>
                    <a:pt x="49" y="84"/>
                    <a:pt x="49" y="84"/>
                  </a:cubicBezTo>
                  <a:cubicBezTo>
                    <a:pt x="55" y="84"/>
                    <a:pt x="61" y="83"/>
                    <a:pt x="66" y="80"/>
                  </a:cubicBezTo>
                  <a:cubicBezTo>
                    <a:pt x="81" y="73"/>
                    <a:pt x="90" y="59"/>
                    <a:pt x="90" y="43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90" y="35"/>
                    <a:pt x="89" y="30"/>
                    <a:pt x="86" y="24"/>
                  </a:cubicBezTo>
                  <a:cubicBezTo>
                    <a:pt x="79" y="9"/>
                    <a:pt x="64" y="0"/>
                    <a:pt x="48" y="0"/>
                  </a:cubicBezTo>
                </a:path>
              </a:pathLst>
            </a:custGeom>
            <a:solidFill>
              <a:srgbClr val="5988C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45"/>
            <p:cNvSpPr>
              <a:spLocks/>
            </p:cNvSpPr>
            <p:nvPr userDrawn="1"/>
          </p:nvSpPr>
          <p:spPr bwMode="auto">
            <a:xfrm>
              <a:off x="2585" y="539"/>
              <a:ext cx="41" cy="41"/>
            </a:xfrm>
            <a:custGeom>
              <a:avLst/>
              <a:gdLst>
                <a:gd name="T0" fmla="*/ 28 w 41"/>
                <a:gd name="T1" fmla="*/ 0 h 41"/>
                <a:gd name="T2" fmla="*/ 28 w 41"/>
                <a:gd name="T3" fmla="*/ 0 h 41"/>
                <a:gd name="T4" fmla="*/ 0 w 41"/>
                <a:gd name="T5" fmla="*/ 13 h 41"/>
                <a:gd name="T6" fmla="*/ 13 w 41"/>
                <a:gd name="T7" fmla="*/ 41 h 41"/>
                <a:gd name="T8" fmla="*/ 13 w 41"/>
                <a:gd name="T9" fmla="*/ 41 h 41"/>
                <a:gd name="T10" fmla="*/ 41 w 41"/>
                <a:gd name="T11" fmla="*/ 28 h 41"/>
                <a:gd name="T12" fmla="*/ 41 w 41"/>
                <a:gd name="T13" fmla="*/ 28 h 41"/>
                <a:gd name="T14" fmla="*/ 28 w 41"/>
                <a:gd name="T1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41">
                  <a:moveTo>
                    <a:pt x="28" y="0"/>
                  </a:moveTo>
                  <a:lnTo>
                    <a:pt x="28" y="0"/>
                  </a:lnTo>
                  <a:lnTo>
                    <a:pt x="0" y="13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4C60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46"/>
            <p:cNvSpPr>
              <a:spLocks/>
            </p:cNvSpPr>
            <p:nvPr userDrawn="1"/>
          </p:nvSpPr>
          <p:spPr bwMode="auto">
            <a:xfrm>
              <a:off x="2585" y="539"/>
              <a:ext cx="41" cy="41"/>
            </a:xfrm>
            <a:custGeom>
              <a:avLst/>
              <a:gdLst>
                <a:gd name="T0" fmla="*/ 28 w 41"/>
                <a:gd name="T1" fmla="*/ 0 h 41"/>
                <a:gd name="T2" fmla="*/ 28 w 41"/>
                <a:gd name="T3" fmla="*/ 0 h 41"/>
                <a:gd name="T4" fmla="*/ 0 w 41"/>
                <a:gd name="T5" fmla="*/ 13 h 41"/>
                <a:gd name="T6" fmla="*/ 13 w 41"/>
                <a:gd name="T7" fmla="*/ 41 h 41"/>
                <a:gd name="T8" fmla="*/ 13 w 41"/>
                <a:gd name="T9" fmla="*/ 41 h 41"/>
                <a:gd name="T10" fmla="*/ 41 w 41"/>
                <a:gd name="T11" fmla="*/ 28 h 41"/>
                <a:gd name="T12" fmla="*/ 41 w 41"/>
                <a:gd name="T13" fmla="*/ 28 h 41"/>
                <a:gd name="T14" fmla="*/ 28 w 41"/>
                <a:gd name="T1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41">
                  <a:moveTo>
                    <a:pt x="28" y="0"/>
                  </a:moveTo>
                  <a:lnTo>
                    <a:pt x="28" y="0"/>
                  </a:lnTo>
                  <a:lnTo>
                    <a:pt x="0" y="13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28" y="0"/>
                  </a:lnTo>
                </a:path>
              </a:pathLst>
            </a:custGeom>
            <a:solidFill>
              <a:srgbClr val="1A63B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47"/>
            <p:cNvSpPr>
              <a:spLocks/>
            </p:cNvSpPr>
            <p:nvPr userDrawn="1"/>
          </p:nvSpPr>
          <p:spPr bwMode="auto">
            <a:xfrm>
              <a:off x="2566" y="886"/>
              <a:ext cx="58" cy="59"/>
            </a:xfrm>
            <a:custGeom>
              <a:avLst/>
              <a:gdLst>
                <a:gd name="T0" fmla="*/ 27 w 58"/>
                <a:gd name="T1" fmla="*/ 0 h 59"/>
                <a:gd name="T2" fmla="*/ 27 w 58"/>
                <a:gd name="T3" fmla="*/ 0 h 59"/>
                <a:gd name="T4" fmla="*/ 0 w 58"/>
                <a:gd name="T5" fmla="*/ 31 h 59"/>
                <a:gd name="T6" fmla="*/ 30 w 58"/>
                <a:gd name="T7" fmla="*/ 59 h 59"/>
                <a:gd name="T8" fmla="*/ 58 w 58"/>
                <a:gd name="T9" fmla="*/ 27 h 59"/>
                <a:gd name="T10" fmla="*/ 27 w 58"/>
                <a:gd name="T1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59">
                  <a:moveTo>
                    <a:pt x="27" y="0"/>
                  </a:moveTo>
                  <a:lnTo>
                    <a:pt x="27" y="0"/>
                  </a:lnTo>
                  <a:lnTo>
                    <a:pt x="0" y="31"/>
                  </a:lnTo>
                  <a:lnTo>
                    <a:pt x="30" y="59"/>
                  </a:lnTo>
                  <a:lnTo>
                    <a:pt x="58" y="27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1E69B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48"/>
            <p:cNvSpPr>
              <a:spLocks/>
            </p:cNvSpPr>
            <p:nvPr userDrawn="1"/>
          </p:nvSpPr>
          <p:spPr bwMode="auto">
            <a:xfrm>
              <a:off x="2566" y="886"/>
              <a:ext cx="58" cy="59"/>
            </a:xfrm>
            <a:custGeom>
              <a:avLst/>
              <a:gdLst>
                <a:gd name="T0" fmla="*/ 27 w 58"/>
                <a:gd name="T1" fmla="*/ 0 h 59"/>
                <a:gd name="T2" fmla="*/ 27 w 58"/>
                <a:gd name="T3" fmla="*/ 0 h 59"/>
                <a:gd name="T4" fmla="*/ 0 w 58"/>
                <a:gd name="T5" fmla="*/ 31 h 59"/>
                <a:gd name="T6" fmla="*/ 30 w 58"/>
                <a:gd name="T7" fmla="*/ 59 h 59"/>
                <a:gd name="T8" fmla="*/ 58 w 58"/>
                <a:gd name="T9" fmla="*/ 27 h 59"/>
                <a:gd name="T10" fmla="*/ 27 w 58"/>
                <a:gd name="T1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59">
                  <a:moveTo>
                    <a:pt x="27" y="0"/>
                  </a:moveTo>
                  <a:lnTo>
                    <a:pt x="27" y="0"/>
                  </a:lnTo>
                  <a:lnTo>
                    <a:pt x="0" y="31"/>
                  </a:lnTo>
                  <a:lnTo>
                    <a:pt x="30" y="59"/>
                  </a:lnTo>
                  <a:lnTo>
                    <a:pt x="58" y="27"/>
                  </a:lnTo>
                  <a:lnTo>
                    <a:pt x="27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49"/>
            <p:cNvSpPr>
              <a:spLocks/>
            </p:cNvSpPr>
            <p:nvPr userDrawn="1"/>
          </p:nvSpPr>
          <p:spPr bwMode="auto">
            <a:xfrm>
              <a:off x="2948" y="769"/>
              <a:ext cx="53" cy="54"/>
            </a:xfrm>
            <a:custGeom>
              <a:avLst/>
              <a:gdLst>
                <a:gd name="T0" fmla="*/ 10 w 53"/>
                <a:gd name="T1" fmla="*/ 0 h 54"/>
                <a:gd name="T2" fmla="*/ 10 w 53"/>
                <a:gd name="T3" fmla="*/ 0 h 54"/>
                <a:gd name="T4" fmla="*/ 0 w 53"/>
                <a:gd name="T5" fmla="*/ 43 h 54"/>
                <a:gd name="T6" fmla="*/ 0 w 53"/>
                <a:gd name="T7" fmla="*/ 43 h 54"/>
                <a:gd name="T8" fmla="*/ 43 w 53"/>
                <a:gd name="T9" fmla="*/ 54 h 54"/>
                <a:gd name="T10" fmla="*/ 53 w 53"/>
                <a:gd name="T11" fmla="*/ 11 h 54"/>
                <a:gd name="T12" fmla="*/ 10 w 53"/>
                <a:gd name="T1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54">
                  <a:moveTo>
                    <a:pt x="10" y="0"/>
                  </a:moveTo>
                  <a:lnTo>
                    <a:pt x="10" y="0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43" y="54"/>
                  </a:lnTo>
                  <a:lnTo>
                    <a:pt x="53" y="11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15559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50"/>
            <p:cNvSpPr>
              <a:spLocks/>
            </p:cNvSpPr>
            <p:nvPr userDrawn="1"/>
          </p:nvSpPr>
          <p:spPr bwMode="auto">
            <a:xfrm>
              <a:off x="2948" y="769"/>
              <a:ext cx="53" cy="54"/>
            </a:xfrm>
            <a:custGeom>
              <a:avLst/>
              <a:gdLst>
                <a:gd name="T0" fmla="*/ 10 w 53"/>
                <a:gd name="T1" fmla="*/ 0 h 54"/>
                <a:gd name="T2" fmla="*/ 10 w 53"/>
                <a:gd name="T3" fmla="*/ 0 h 54"/>
                <a:gd name="T4" fmla="*/ 0 w 53"/>
                <a:gd name="T5" fmla="*/ 43 h 54"/>
                <a:gd name="T6" fmla="*/ 0 w 53"/>
                <a:gd name="T7" fmla="*/ 43 h 54"/>
                <a:gd name="T8" fmla="*/ 43 w 53"/>
                <a:gd name="T9" fmla="*/ 54 h 54"/>
                <a:gd name="T10" fmla="*/ 53 w 53"/>
                <a:gd name="T11" fmla="*/ 11 h 54"/>
                <a:gd name="T12" fmla="*/ 10 w 53"/>
                <a:gd name="T1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54">
                  <a:moveTo>
                    <a:pt x="10" y="0"/>
                  </a:moveTo>
                  <a:lnTo>
                    <a:pt x="10" y="0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43" y="54"/>
                  </a:lnTo>
                  <a:lnTo>
                    <a:pt x="53" y="11"/>
                  </a:lnTo>
                  <a:lnTo>
                    <a:pt x="1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51"/>
            <p:cNvSpPr>
              <a:spLocks noEditPoints="1"/>
            </p:cNvSpPr>
            <p:nvPr userDrawn="1"/>
          </p:nvSpPr>
          <p:spPr bwMode="auto">
            <a:xfrm>
              <a:off x="3034" y="648"/>
              <a:ext cx="109" cy="101"/>
            </a:xfrm>
            <a:custGeom>
              <a:avLst/>
              <a:gdLst>
                <a:gd name="T0" fmla="*/ 92 w 147"/>
                <a:gd name="T1" fmla="*/ 102 h 137"/>
                <a:gd name="T2" fmla="*/ 90 w 147"/>
                <a:gd name="T3" fmla="*/ 94 h 137"/>
                <a:gd name="T4" fmla="*/ 100 w 147"/>
                <a:gd name="T5" fmla="*/ 88 h 137"/>
                <a:gd name="T6" fmla="*/ 104 w 147"/>
                <a:gd name="T7" fmla="*/ 110 h 137"/>
                <a:gd name="T8" fmla="*/ 66 w 147"/>
                <a:gd name="T9" fmla="*/ 115 h 137"/>
                <a:gd name="T10" fmla="*/ 44 w 147"/>
                <a:gd name="T11" fmla="*/ 79 h 137"/>
                <a:gd name="T12" fmla="*/ 56 w 147"/>
                <a:gd name="T13" fmla="*/ 81 h 137"/>
                <a:gd name="T14" fmla="*/ 77 w 147"/>
                <a:gd name="T15" fmla="*/ 97 h 137"/>
                <a:gd name="T16" fmla="*/ 84 w 147"/>
                <a:gd name="T17" fmla="*/ 107 h 137"/>
                <a:gd name="T18" fmla="*/ 101 w 147"/>
                <a:gd name="T19" fmla="*/ 112 h 137"/>
                <a:gd name="T20" fmla="*/ 79 w 147"/>
                <a:gd name="T21" fmla="*/ 93 h 137"/>
                <a:gd name="T22" fmla="*/ 54 w 147"/>
                <a:gd name="T23" fmla="*/ 74 h 137"/>
                <a:gd name="T24" fmla="*/ 77 w 147"/>
                <a:gd name="T25" fmla="*/ 76 h 137"/>
                <a:gd name="T26" fmla="*/ 85 w 147"/>
                <a:gd name="T27" fmla="*/ 74 h 137"/>
                <a:gd name="T28" fmla="*/ 92 w 147"/>
                <a:gd name="T29" fmla="*/ 86 h 137"/>
                <a:gd name="T30" fmla="*/ 86 w 147"/>
                <a:gd name="T31" fmla="*/ 92 h 137"/>
                <a:gd name="T32" fmla="*/ 79 w 147"/>
                <a:gd name="T33" fmla="*/ 93 h 137"/>
                <a:gd name="T34" fmla="*/ 86 w 147"/>
                <a:gd name="T35" fmla="*/ 70 h 137"/>
                <a:gd name="T36" fmla="*/ 93 w 147"/>
                <a:gd name="T37" fmla="*/ 58 h 137"/>
                <a:gd name="T38" fmla="*/ 97 w 147"/>
                <a:gd name="T39" fmla="*/ 59 h 137"/>
                <a:gd name="T40" fmla="*/ 93 w 147"/>
                <a:gd name="T41" fmla="*/ 73 h 137"/>
                <a:gd name="T42" fmla="*/ 52 w 147"/>
                <a:gd name="T43" fmla="*/ 69 h 137"/>
                <a:gd name="T44" fmla="*/ 63 w 147"/>
                <a:gd name="T45" fmla="*/ 46 h 137"/>
                <a:gd name="T46" fmla="*/ 75 w 147"/>
                <a:gd name="T47" fmla="*/ 44 h 137"/>
                <a:gd name="T48" fmla="*/ 91 w 147"/>
                <a:gd name="T49" fmla="*/ 55 h 137"/>
                <a:gd name="T50" fmla="*/ 81 w 147"/>
                <a:gd name="T51" fmla="*/ 61 h 137"/>
                <a:gd name="T52" fmla="*/ 71 w 147"/>
                <a:gd name="T53" fmla="*/ 67 h 137"/>
                <a:gd name="T54" fmla="*/ 53 w 147"/>
                <a:gd name="T55" fmla="*/ 71 h 137"/>
                <a:gd name="T56" fmla="*/ 100 w 147"/>
                <a:gd name="T57" fmla="*/ 59 h 137"/>
                <a:gd name="T58" fmla="*/ 104 w 147"/>
                <a:gd name="T59" fmla="*/ 44 h 137"/>
                <a:gd name="T60" fmla="*/ 125 w 147"/>
                <a:gd name="T61" fmla="*/ 81 h 137"/>
                <a:gd name="T62" fmla="*/ 104 w 147"/>
                <a:gd name="T63" fmla="*/ 87 h 137"/>
                <a:gd name="T64" fmla="*/ 106 w 147"/>
                <a:gd name="T65" fmla="*/ 72 h 137"/>
                <a:gd name="T66" fmla="*/ 91 w 147"/>
                <a:gd name="T67" fmla="*/ 46 h 137"/>
                <a:gd name="T68" fmla="*/ 75 w 147"/>
                <a:gd name="T69" fmla="*/ 35 h 137"/>
                <a:gd name="T70" fmla="*/ 108 w 147"/>
                <a:gd name="T71" fmla="*/ 31 h 137"/>
                <a:gd name="T72" fmla="*/ 101 w 147"/>
                <a:gd name="T73" fmla="*/ 42 h 137"/>
                <a:gd name="T74" fmla="*/ 91 w 147"/>
                <a:gd name="T75" fmla="*/ 46 h 137"/>
                <a:gd name="T76" fmla="*/ 32 w 147"/>
                <a:gd name="T77" fmla="*/ 56 h 137"/>
                <a:gd name="T78" fmla="*/ 59 w 147"/>
                <a:gd name="T79" fmla="*/ 30 h 137"/>
                <a:gd name="T80" fmla="*/ 59 w 147"/>
                <a:gd name="T81" fmla="*/ 46 h 137"/>
                <a:gd name="T82" fmla="*/ 51 w 147"/>
                <a:gd name="T83" fmla="*/ 65 h 137"/>
                <a:gd name="T84" fmla="*/ 38 w 147"/>
                <a:gd name="T85" fmla="*/ 78 h 137"/>
                <a:gd name="T86" fmla="*/ 34 w 147"/>
                <a:gd name="T87" fmla="*/ 86 h 137"/>
                <a:gd name="T88" fmla="*/ 60 w 147"/>
                <a:gd name="T89" fmla="*/ 24 h 137"/>
                <a:gd name="T90" fmla="*/ 91 w 147"/>
                <a:gd name="T91" fmla="*/ 22 h 137"/>
                <a:gd name="T92" fmla="*/ 74 w 147"/>
                <a:gd name="T93" fmla="*/ 31 h 137"/>
                <a:gd name="T94" fmla="*/ 63 w 147"/>
                <a:gd name="T95" fmla="*/ 29 h 137"/>
                <a:gd name="T96" fmla="*/ 16 w 147"/>
                <a:gd name="T97" fmla="*/ 39 h 137"/>
                <a:gd name="T98" fmla="*/ 77 w 147"/>
                <a:gd name="T99" fmla="*/ 137 h 137"/>
                <a:gd name="T100" fmla="*/ 140 w 147"/>
                <a:gd name="T101" fmla="*/ 98 h 137"/>
                <a:gd name="T102" fmla="*/ 147 w 147"/>
                <a:gd name="T103" fmla="*/ 68 h 137"/>
                <a:gd name="T104" fmla="*/ 78 w 147"/>
                <a:gd name="T105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7" h="137">
                  <a:moveTo>
                    <a:pt x="104" y="110"/>
                  </a:moveTo>
                  <a:cubicBezTo>
                    <a:pt x="92" y="102"/>
                    <a:pt x="92" y="102"/>
                    <a:pt x="92" y="102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93" y="99"/>
                    <a:pt x="92" y="96"/>
                    <a:pt x="90" y="94"/>
                  </a:cubicBezTo>
                  <a:cubicBezTo>
                    <a:pt x="95" y="88"/>
                    <a:pt x="95" y="88"/>
                    <a:pt x="95" y="88"/>
                  </a:cubicBezTo>
                  <a:cubicBezTo>
                    <a:pt x="100" y="88"/>
                    <a:pt x="100" y="88"/>
                    <a:pt x="100" y="88"/>
                  </a:cubicBezTo>
                  <a:cubicBezTo>
                    <a:pt x="108" y="107"/>
                    <a:pt x="108" y="107"/>
                    <a:pt x="108" y="107"/>
                  </a:cubicBezTo>
                  <a:cubicBezTo>
                    <a:pt x="107" y="108"/>
                    <a:pt x="105" y="109"/>
                    <a:pt x="104" y="110"/>
                  </a:cubicBezTo>
                  <a:moveTo>
                    <a:pt x="79" y="117"/>
                  </a:moveTo>
                  <a:cubicBezTo>
                    <a:pt x="75" y="117"/>
                    <a:pt x="70" y="116"/>
                    <a:pt x="66" y="115"/>
                  </a:cubicBezTo>
                  <a:cubicBezTo>
                    <a:pt x="52" y="111"/>
                    <a:pt x="41" y="101"/>
                    <a:pt x="35" y="89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56" y="82"/>
                    <a:pt x="56" y="82"/>
                    <a:pt x="56" y="82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77" y="96"/>
                    <a:pt x="77" y="96"/>
                    <a:pt x="77" y="96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6" y="101"/>
                    <a:pt x="78" y="106"/>
                    <a:pt x="82" y="107"/>
                  </a:cubicBezTo>
                  <a:cubicBezTo>
                    <a:pt x="83" y="107"/>
                    <a:pt x="84" y="107"/>
                    <a:pt x="84" y="107"/>
                  </a:cubicBezTo>
                  <a:cubicBezTo>
                    <a:pt x="87" y="107"/>
                    <a:pt x="89" y="106"/>
                    <a:pt x="90" y="105"/>
                  </a:cubicBezTo>
                  <a:cubicBezTo>
                    <a:pt x="101" y="112"/>
                    <a:pt x="101" y="112"/>
                    <a:pt x="101" y="112"/>
                  </a:cubicBezTo>
                  <a:cubicBezTo>
                    <a:pt x="94" y="115"/>
                    <a:pt x="86" y="117"/>
                    <a:pt x="79" y="117"/>
                  </a:cubicBezTo>
                  <a:moveTo>
                    <a:pt x="79" y="93"/>
                  </a:moveTo>
                  <a:cubicBezTo>
                    <a:pt x="54" y="75"/>
                    <a:pt x="54" y="75"/>
                    <a:pt x="54" y="75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71" y="71"/>
                    <a:pt x="71" y="71"/>
                    <a:pt x="71" y="71"/>
                  </a:cubicBezTo>
                  <a:cubicBezTo>
                    <a:pt x="72" y="74"/>
                    <a:pt x="74" y="76"/>
                    <a:pt x="77" y="76"/>
                  </a:cubicBezTo>
                  <a:cubicBezTo>
                    <a:pt x="77" y="76"/>
                    <a:pt x="78" y="76"/>
                    <a:pt x="79" y="76"/>
                  </a:cubicBezTo>
                  <a:cubicBezTo>
                    <a:pt x="81" y="76"/>
                    <a:pt x="83" y="75"/>
                    <a:pt x="85" y="74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92" y="86"/>
                    <a:pt x="92" y="86"/>
                    <a:pt x="92" y="86"/>
                  </a:cubicBezTo>
                  <a:cubicBezTo>
                    <a:pt x="88" y="92"/>
                    <a:pt x="88" y="92"/>
                    <a:pt x="88" y="92"/>
                  </a:cubicBezTo>
                  <a:cubicBezTo>
                    <a:pt x="87" y="92"/>
                    <a:pt x="87" y="92"/>
                    <a:pt x="86" y="92"/>
                  </a:cubicBezTo>
                  <a:cubicBezTo>
                    <a:pt x="86" y="92"/>
                    <a:pt x="85" y="92"/>
                    <a:pt x="84" y="92"/>
                  </a:cubicBezTo>
                  <a:cubicBezTo>
                    <a:pt x="83" y="92"/>
                    <a:pt x="81" y="92"/>
                    <a:pt x="79" y="93"/>
                  </a:cubicBezTo>
                  <a:moveTo>
                    <a:pt x="93" y="73"/>
                  </a:moveTo>
                  <a:cubicBezTo>
                    <a:pt x="86" y="70"/>
                    <a:pt x="86" y="70"/>
                    <a:pt x="86" y="70"/>
                  </a:cubicBezTo>
                  <a:cubicBezTo>
                    <a:pt x="87" y="68"/>
                    <a:pt x="86" y="66"/>
                    <a:pt x="85" y="65"/>
                  </a:cubicBezTo>
                  <a:cubicBezTo>
                    <a:pt x="93" y="58"/>
                    <a:pt x="93" y="58"/>
                    <a:pt x="93" y="58"/>
                  </a:cubicBezTo>
                  <a:cubicBezTo>
                    <a:pt x="94" y="58"/>
                    <a:pt x="95" y="59"/>
                    <a:pt x="96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73"/>
                    <a:pt x="97" y="73"/>
                    <a:pt x="97" y="73"/>
                  </a:cubicBezTo>
                  <a:cubicBezTo>
                    <a:pt x="93" y="73"/>
                    <a:pt x="93" y="73"/>
                    <a:pt x="93" y="73"/>
                  </a:cubicBezTo>
                  <a:moveTo>
                    <a:pt x="53" y="71"/>
                  </a:moveTo>
                  <a:cubicBezTo>
                    <a:pt x="52" y="69"/>
                    <a:pt x="52" y="69"/>
                    <a:pt x="52" y="69"/>
                  </a:cubicBezTo>
                  <a:cubicBezTo>
                    <a:pt x="53" y="69"/>
                    <a:pt x="53" y="69"/>
                    <a:pt x="53" y="68"/>
                  </a:cubicBezTo>
                  <a:cubicBezTo>
                    <a:pt x="63" y="46"/>
                    <a:pt x="63" y="46"/>
                    <a:pt x="63" y="4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89" y="51"/>
                    <a:pt x="90" y="53"/>
                    <a:pt x="91" y="55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2" y="62"/>
                    <a:pt x="82" y="62"/>
                    <a:pt x="81" y="61"/>
                  </a:cubicBezTo>
                  <a:cubicBezTo>
                    <a:pt x="80" y="61"/>
                    <a:pt x="79" y="61"/>
                    <a:pt x="79" y="61"/>
                  </a:cubicBezTo>
                  <a:cubicBezTo>
                    <a:pt x="75" y="61"/>
                    <a:pt x="72" y="63"/>
                    <a:pt x="71" y="67"/>
                  </a:cubicBezTo>
                  <a:cubicBezTo>
                    <a:pt x="71" y="67"/>
                    <a:pt x="71" y="67"/>
                    <a:pt x="71" y="68"/>
                  </a:cubicBezTo>
                  <a:cubicBezTo>
                    <a:pt x="53" y="71"/>
                    <a:pt x="53" y="71"/>
                    <a:pt x="53" y="71"/>
                  </a:cubicBezTo>
                  <a:moveTo>
                    <a:pt x="100" y="73"/>
                  </a:moveTo>
                  <a:cubicBezTo>
                    <a:pt x="100" y="59"/>
                    <a:pt x="100" y="59"/>
                    <a:pt x="100" y="59"/>
                  </a:cubicBezTo>
                  <a:cubicBezTo>
                    <a:pt x="103" y="58"/>
                    <a:pt x="106" y="56"/>
                    <a:pt x="107" y="53"/>
                  </a:cubicBezTo>
                  <a:cubicBezTo>
                    <a:pt x="108" y="50"/>
                    <a:pt x="107" y="46"/>
                    <a:pt x="104" y="44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24" y="45"/>
                    <a:pt x="130" y="63"/>
                    <a:pt x="125" y="81"/>
                  </a:cubicBezTo>
                  <a:cubicBezTo>
                    <a:pt x="123" y="91"/>
                    <a:pt x="118" y="99"/>
                    <a:pt x="111" y="105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07" y="87"/>
                    <a:pt x="107" y="87"/>
                    <a:pt x="107" y="87"/>
                  </a:cubicBezTo>
                  <a:cubicBezTo>
                    <a:pt x="106" y="72"/>
                    <a:pt x="106" y="72"/>
                    <a:pt x="106" y="72"/>
                  </a:cubicBezTo>
                  <a:cubicBezTo>
                    <a:pt x="100" y="73"/>
                    <a:pt x="100" y="73"/>
                    <a:pt x="100" y="73"/>
                  </a:cubicBezTo>
                  <a:moveTo>
                    <a:pt x="91" y="46"/>
                  </a:moveTo>
                  <a:cubicBezTo>
                    <a:pt x="75" y="40"/>
                    <a:pt x="75" y="40"/>
                    <a:pt x="75" y="40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6" y="29"/>
                    <a:pt x="107" y="30"/>
                    <a:pt x="108" y="31"/>
                  </a:cubicBezTo>
                  <a:cubicBezTo>
                    <a:pt x="101" y="42"/>
                    <a:pt x="101" y="42"/>
                    <a:pt x="101" y="42"/>
                  </a:cubicBezTo>
                  <a:cubicBezTo>
                    <a:pt x="101" y="42"/>
                    <a:pt x="101" y="42"/>
                    <a:pt x="101" y="42"/>
                  </a:cubicBezTo>
                  <a:cubicBezTo>
                    <a:pt x="100" y="42"/>
                    <a:pt x="99" y="42"/>
                    <a:pt x="98" y="42"/>
                  </a:cubicBezTo>
                  <a:cubicBezTo>
                    <a:pt x="95" y="42"/>
                    <a:pt x="92" y="44"/>
                    <a:pt x="91" y="46"/>
                  </a:cubicBezTo>
                  <a:moveTo>
                    <a:pt x="34" y="86"/>
                  </a:moveTo>
                  <a:cubicBezTo>
                    <a:pt x="30" y="76"/>
                    <a:pt x="29" y="66"/>
                    <a:pt x="32" y="56"/>
                  </a:cubicBezTo>
                  <a:cubicBezTo>
                    <a:pt x="36" y="42"/>
                    <a:pt x="45" y="32"/>
                    <a:pt x="57" y="26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1" y="65"/>
                    <a:pt x="51" y="65"/>
                    <a:pt x="51" y="65"/>
                  </a:cubicBezTo>
                  <a:cubicBezTo>
                    <a:pt x="51" y="64"/>
                    <a:pt x="51" y="64"/>
                    <a:pt x="51" y="64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34" y="86"/>
                    <a:pt x="34" y="86"/>
                    <a:pt x="34" y="86"/>
                  </a:cubicBezTo>
                  <a:moveTo>
                    <a:pt x="63" y="29"/>
                  </a:moveTo>
                  <a:cubicBezTo>
                    <a:pt x="60" y="24"/>
                    <a:pt x="60" y="24"/>
                    <a:pt x="60" y="24"/>
                  </a:cubicBezTo>
                  <a:cubicBezTo>
                    <a:pt x="66" y="22"/>
                    <a:pt x="72" y="21"/>
                    <a:pt x="79" y="21"/>
                  </a:cubicBezTo>
                  <a:cubicBezTo>
                    <a:pt x="83" y="21"/>
                    <a:pt x="87" y="21"/>
                    <a:pt x="91" y="22"/>
                  </a:cubicBezTo>
                  <a:cubicBezTo>
                    <a:pt x="94" y="23"/>
                    <a:pt x="97" y="24"/>
                    <a:pt x="100" y="26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63" y="29"/>
                    <a:pt x="63" y="29"/>
                    <a:pt x="63" y="29"/>
                  </a:cubicBezTo>
                  <a:moveTo>
                    <a:pt x="78" y="0"/>
                  </a:moveTo>
                  <a:cubicBezTo>
                    <a:pt x="52" y="0"/>
                    <a:pt x="28" y="14"/>
                    <a:pt x="16" y="39"/>
                  </a:cubicBezTo>
                  <a:cubicBezTo>
                    <a:pt x="0" y="74"/>
                    <a:pt x="15" y="115"/>
                    <a:pt x="49" y="131"/>
                  </a:cubicBezTo>
                  <a:cubicBezTo>
                    <a:pt x="58" y="135"/>
                    <a:pt x="67" y="137"/>
                    <a:pt x="77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105" y="137"/>
                    <a:pt x="129" y="122"/>
                    <a:pt x="140" y="98"/>
                  </a:cubicBezTo>
                  <a:cubicBezTo>
                    <a:pt x="145" y="89"/>
                    <a:pt x="147" y="79"/>
                    <a:pt x="147" y="70"/>
                  </a:cubicBezTo>
                  <a:cubicBezTo>
                    <a:pt x="147" y="68"/>
                    <a:pt x="147" y="68"/>
                    <a:pt x="147" y="68"/>
                  </a:cubicBezTo>
                  <a:cubicBezTo>
                    <a:pt x="147" y="42"/>
                    <a:pt x="132" y="18"/>
                    <a:pt x="108" y="6"/>
                  </a:cubicBezTo>
                  <a:cubicBezTo>
                    <a:pt x="98" y="2"/>
                    <a:pt x="88" y="0"/>
                    <a:pt x="78" y="0"/>
                  </a:cubicBezTo>
                </a:path>
              </a:pathLst>
            </a:custGeom>
            <a:solidFill>
              <a:srgbClr val="84A2C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52"/>
            <p:cNvSpPr>
              <a:spLocks/>
            </p:cNvSpPr>
            <p:nvPr userDrawn="1"/>
          </p:nvSpPr>
          <p:spPr bwMode="auto">
            <a:xfrm>
              <a:off x="3484" y="638"/>
              <a:ext cx="17" cy="16"/>
            </a:xfrm>
            <a:custGeom>
              <a:avLst/>
              <a:gdLst>
                <a:gd name="T0" fmla="*/ 15 w 17"/>
                <a:gd name="T1" fmla="*/ 0 h 16"/>
                <a:gd name="T2" fmla="*/ 0 w 17"/>
                <a:gd name="T3" fmla="*/ 3 h 16"/>
                <a:gd name="T4" fmla="*/ 3 w 17"/>
                <a:gd name="T5" fmla="*/ 16 h 16"/>
                <a:gd name="T6" fmla="*/ 17 w 17"/>
                <a:gd name="T7" fmla="*/ 14 h 16"/>
                <a:gd name="T8" fmla="*/ 15 w 1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6">
                  <a:moveTo>
                    <a:pt x="15" y="0"/>
                  </a:moveTo>
                  <a:lnTo>
                    <a:pt x="0" y="3"/>
                  </a:lnTo>
                  <a:lnTo>
                    <a:pt x="3" y="16"/>
                  </a:lnTo>
                  <a:lnTo>
                    <a:pt x="17" y="14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455A8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53"/>
            <p:cNvSpPr>
              <a:spLocks/>
            </p:cNvSpPr>
            <p:nvPr userDrawn="1"/>
          </p:nvSpPr>
          <p:spPr bwMode="auto">
            <a:xfrm>
              <a:off x="3484" y="638"/>
              <a:ext cx="17" cy="16"/>
            </a:xfrm>
            <a:custGeom>
              <a:avLst/>
              <a:gdLst>
                <a:gd name="T0" fmla="*/ 15 w 17"/>
                <a:gd name="T1" fmla="*/ 0 h 16"/>
                <a:gd name="T2" fmla="*/ 0 w 17"/>
                <a:gd name="T3" fmla="*/ 3 h 16"/>
                <a:gd name="T4" fmla="*/ 3 w 17"/>
                <a:gd name="T5" fmla="*/ 16 h 16"/>
                <a:gd name="T6" fmla="*/ 17 w 17"/>
                <a:gd name="T7" fmla="*/ 14 h 16"/>
                <a:gd name="T8" fmla="*/ 15 w 1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6">
                  <a:moveTo>
                    <a:pt x="15" y="0"/>
                  </a:moveTo>
                  <a:lnTo>
                    <a:pt x="0" y="3"/>
                  </a:lnTo>
                  <a:lnTo>
                    <a:pt x="3" y="16"/>
                  </a:lnTo>
                  <a:lnTo>
                    <a:pt x="17" y="14"/>
                  </a:lnTo>
                  <a:lnTo>
                    <a:pt x="15" y="0"/>
                  </a:lnTo>
                </a:path>
              </a:pathLst>
            </a:custGeom>
            <a:solidFill>
              <a:srgbClr val="1C64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113" name="Freeform 54"/>
            <p:cNvSpPr>
              <a:spLocks/>
            </p:cNvSpPr>
            <p:nvPr userDrawn="1"/>
          </p:nvSpPr>
          <p:spPr bwMode="auto">
            <a:xfrm>
              <a:off x="3515" y="667"/>
              <a:ext cx="8" cy="10"/>
            </a:xfrm>
            <a:custGeom>
              <a:avLst/>
              <a:gdLst>
                <a:gd name="T0" fmla="*/ 7 w 8"/>
                <a:gd name="T1" fmla="*/ 0 h 10"/>
                <a:gd name="T2" fmla="*/ 0 w 8"/>
                <a:gd name="T3" fmla="*/ 6 h 10"/>
                <a:gd name="T4" fmla="*/ 8 w 8"/>
                <a:gd name="T5" fmla="*/ 10 h 10"/>
                <a:gd name="T6" fmla="*/ 7 w 8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0">
                  <a:moveTo>
                    <a:pt x="7" y="0"/>
                  </a:moveTo>
                  <a:lnTo>
                    <a:pt x="0" y="6"/>
                  </a:lnTo>
                  <a:lnTo>
                    <a:pt x="8" y="1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455A8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55"/>
            <p:cNvSpPr>
              <a:spLocks/>
            </p:cNvSpPr>
            <p:nvPr userDrawn="1"/>
          </p:nvSpPr>
          <p:spPr bwMode="auto">
            <a:xfrm>
              <a:off x="3515" y="667"/>
              <a:ext cx="8" cy="10"/>
            </a:xfrm>
            <a:custGeom>
              <a:avLst/>
              <a:gdLst>
                <a:gd name="T0" fmla="*/ 7 w 8"/>
                <a:gd name="T1" fmla="*/ 0 h 10"/>
                <a:gd name="T2" fmla="*/ 0 w 8"/>
                <a:gd name="T3" fmla="*/ 6 h 10"/>
                <a:gd name="T4" fmla="*/ 8 w 8"/>
                <a:gd name="T5" fmla="*/ 10 h 10"/>
                <a:gd name="T6" fmla="*/ 7 w 8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0">
                  <a:moveTo>
                    <a:pt x="7" y="0"/>
                  </a:moveTo>
                  <a:lnTo>
                    <a:pt x="0" y="6"/>
                  </a:lnTo>
                  <a:lnTo>
                    <a:pt x="8" y="10"/>
                  </a:lnTo>
                  <a:lnTo>
                    <a:pt x="7" y="0"/>
                  </a:lnTo>
                </a:path>
              </a:pathLst>
            </a:custGeom>
            <a:solidFill>
              <a:srgbClr val="1C64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115" name="Freeform 56"/>
            <p:cNvSpPr>
              <a:spLocks noEditPoints="1"/>
            </p:cNvSpPr>
            <p:nvPr userDrawn="1"/>
          </p:nvSpPr>
          <p:spPr bwMode="auto">
            <a:xfrm>
              <a:off x="3442" y="583"/>
              <a:ext cx="129" cy="127"/>
            </a:xfrm>
            <a:custGeom>
              <a:avLst/>
              <a:gdLst>
                <a:gd name="T0" fmla="*/ 110 w 175"/>
                <a:gd name="T1" fmla="*/ 101 h 171"/>
                <a:gd name="T2" fmla="*/ 117 w 175"/>
                <a:gd name="T3" fmla="*/ 108 h 171"/>
                <a:gd name="T4" fmla="*/ 121 w 175"/>
                <a:gd name="T5" fmla="*/ 110 h 171"/>
                <a:gd name="T6" fmla="*/ 124 w 175"/>
                <a:gd name="T7" fmla="*/ 120 h 171"/>
                <a:gd name="T8" fmla="*/ 122 w 175"/>
                <a:gd name="T9" fmla="*/ 126 h 171"/>
                <a:gd name="T10" fmla="*/ 117 w 175"/>
                <a:gd name="T11" fmla="*/ 129 h 171"/>
                <a:gd name="T12" fmla="*/ 111 w 175"/>
                <a:gd name="T13" fmla="*/ 135 h 171"/>
                <a:gd name="T14" fmla="*/ 103 w 175"/>
                <a:gd name="T15" fmla="*/ 135 h 171"/>
                <a:gd name="T16" fmla="*/ 96 w 175"/>
                <a:gd name="T17" fmla="*/ 129 h 171"/>
                <a:gd name="T18" fmla="*/ 92 w 175"/>
                <a:gd name="T19" fmla="*/ 127 h 171"/>
                <a:gd name="T20" fmla="*/ 89 w 175"/>
                <a:gd name="T21" fmla="*/ 116 h 171"/>
                <a:gd name="T22" fmla="*/ 91 w 175"/>
                <a:gd name="T23" fmla="*/ 110 h 171"/>
                <a:gd name="T24" fmla="*/ 96 w 175"/>
                <a:gd name="T25" fmla="*/ 108 h 171"/>
                <a:gd name="T26" fmla="*/ 103 w 175"/>
                <a:gd name="T27" fmla="*/ 102 h 171"/>
                <a:gd name="T28" fmla="*/ 65 w 175"/>
                <a:gd name="T29" fmla="*/ 59 h 171"/>
                <a:gd name="T30" fmla="*/ 79 w 175"/>
                <a:gd name="T31" fmla="*/ 54 h 171"/>
                <a:gd name="T32" fmla="*/ 90 w 175"/>
                <a:gd name="T33" fmla="*/ 61 h 171"/>
                <a:gd name="T34" fmla="*/ 100 w 175"/>
                <a:gd name="T35" fmla="*/ 78 h 171"/>
                <a:gd name="T36" fmla="*/ 101 w 175"/>
                <a:gd name="T37" fmla="*/ 85 h 171"/>
                <a:gd name="T38" fmla="*/ 96 w 175"/>
                <a:gd name="T39" fmla="*/ 103 h 171"/>
                <a:gd name="T40" fmla="*/ 86 w 175"/>
                <a:gd name="T41" fmla="*/ 112 h 171"/>
                <a:gd name="T42" fmla="*/ 73 w 175"/>
                <a:gd name="T43" fmla="*/ 111 h 171"/>
                <a:gd name="T44" fmla="*/ 59 w 175"/>
                <a:gd name="T45" fmla="*/ 116 h 171"/>
                <a:gd name="T46" fmla="*/ 48 w 175"/>
                <a:gd name="T47" fmla="*/ 109 h 171"/>
                <a:gd name="T48" fmla="*/ 38 w 175"/>
                <a:gd name="T49" fmla="*/ 92 h 171"/>
                <a:gd name="T50" fmla="*/ 37 w 175"/>
                <a:gd name="T51" fmla="*/ 85 h 171"/>
                <a:gd name="T52" fmla="*/ 39 w 175"/>
                <a:gd name="T53" fmla="*/ 73 h 171"/>
                <a:gd name="T54" fmla="*/ 47 w 175"/>
                <a:gd name="T55" fmla="*/ 68 h 171"/>
                <a:gd name="T56" fmla="*/ 58 w 175"/>
                <a:gd name="T57" fmla="*/ 55 h 171"/>
                <a:gd name="T58" fmla="*/ 54 w 175"/>
                <a:gd name="T59" fmla="*/ 0 h 171"/>
                <a:gd name="T60" fmla="*/ 0 w 175"/>
                <a:gd name="T61" fmla="*/ 171 h 171"/>
                <a:gd name="T62" fmla="*/ 175 w 175"/>
                <a:gd name="T63" fmla="*/ 132 h 171"/>
                <a:gd name="T64" fmla="*/ 54 w 175"/>
                <a:gd name="T65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5" h="171">
                  <a:moveTo>
                    <a:pt x="106" y="104"/>
                  </a:moveTo>
                  <a:cubicBezTo>
                    <a:pt x="108" y="104"/>
                    <a:pt x="109" y="103"/>
                    <a:pt x="110" y="101"/>
                  </a:cubicBezTo>
                  <a:cubicBezTo>
                    <a:pt x="111" y="102"/>
                    <a:pt x="112" y="102"/>
                    <a:pt x="114" y="103"/>
                  </a:cubicBezTo>
                  <a:cubicBezTo>
                    <a:pt x="113" y="105"/>
                    <a:pt x="115" y="108"/>
                    <a:pt x="117" y="108"/>
                  </a:cubicBezTo>
                  <a:cubicBezTo>
                    <a:pt x="118" y="108"/>
                    <a:pt x="119" y="107"/>
                    <a:pt x="119" y="107"/>
                  </a:cubicBezTo>
                  <a:cubicBezTo>
                    <a:pt x="120" y="108"/>
                    <a:pt x="121" y="109"/>
                    <a:pt x="121" y="110"/>
                  </a:cubicBezTo>
                  <a:cubicBezTo>
                    <a:pt x="119" y="112"/>
                    <a:pt x="119" y="116"/>
                    <a:pt x="124" y="116"/>
                  </a:cubicBezTo>
                  <a:cubicBezTo>
                    <a:pt x="124" y="118"/>
                    <a:pt x="124" y="119"/>
                    <a:pt x="124" y="120"/>
                  </a:cubicBezTo>
                  <a:cubicBezTo>
                    <a:pt x="124" y="120"/>
                    <a:pt x="123" y="120"/>
                    <a:pt x="123" y="120"/>
                  </a:cubicBezTo>
                  <a:cubicBezTo>
                    <a:pt x="120" y="120"/>
                    <a:pt x="119" y="125"/>
                    <a:pt x="122" y="126"/>
                  </a:cubicBezTo>
                  <a:cubicBezTo>
                    <a:pt x="121" y="128"/>
                    <a:pt x="120" y="129"/>
                    <a:pt x="119" y="130"/>
                  </a:cubicBezTo>
                  <a:cubicBezTo>
                    <a:pt x="119" y="129"/>
                    <a:pt x="118" y="129"/>
                    <a:pt x="117" y="129"/>
                  </a:cubicBezTo>
                  <a:cubicBezTo>
                    <a:pt x="115" y="129"/>
                    <a:pt x="113" y="131"/>
                    <a:pt x="114" y="133"/>
                  </a:cubicBezTo>
                  <a:cubicBezTo>
                    <a:pt x="113" y="135"/>
                    <a:pt x="112" y="134"/>
                    <a:pt x="111" y="135"/>
                  </a:cubicBezTo>
                  <a:cubicBezTo>
                    <a:pt x="110" y="133"/>
                    <a:pt x="108" y="132"/>
                    <a:pt x="107" y="132"/>
                  </a:cubicBezTo>
                  <a:cubicBezTo>
                    <a:pt x="105" y="132"/>
                    <a:pt x="104" y="133"/>
                    <a:pt x="103" y="135"/>
                  </a:cubicBezTo>
                  <a:cubicBezTo>
                    <a:pt x="102" y="135"/>
                    <a:pt x="101" y="134"/>
                    <a:pt x="99" y="134"/>
                  </a:cubicBezTo>
                  <a:cubicBezTo>
                    <a:pt x="101" y="131"/>
                    <a:pt x="98" y="129"/>
                    <a:pt x="96" y="129"/>
                  </a:cubicBezTo>
                  <a:cubicBezTo>
                    <a:pt x="95" y="129"/>
                    <a:pt x="95" y="129"/>
                    <a:pt x="94" y="129"/>
                  </a:cubicBezTo>
                  <a:cubicBezTo>
                    <a:pt x="93" y="129"/>
                    <a:pt x="92" y="128"/>
                    <a:pt x="92" y="127"/>
                  </a:cubicBezTo>
                  <a:cubicBezTo>
                    <a:pt x="94" y="125"/>
                    <a:pt x="94" y="120"/>
                    <a:pt x="90" y="120"/>
                  </a:cubicBezTo>
                  <a:cubicBezTo>
                    <a:pt x="89" y="119"/>
                    <a:pt x="89" y="118"/>
                    <a:pt x="89" y="116"/>
                  </a:cubicBezTo>
                  <a:cubicBezTo>
                    <a:pt x="90" y="116"/>
                    <a:pt x="90" y="116"/>
                    <a:pt x="90" y="116"/>
                  </a:cubicBezTo>
                  <a:cubicBezTo>
                    <a:pt x="93" y="116"/>
                    <a:pt x="94" y="112"/>
                    <a:pt x="91" y="110"/>
                  </a:cubicBezTo>
                  <a:cubicBezTo>
                    <a:pt x="92" y="109"/>
                    <a:pt x="93" y="108"/>
                    <a:pt x="94" y="107"/>
                  </a:cubicBezTo>
                  <a:cubicBezTo>
                    <a:pt x="95" y="107"/>
                    <a:pt x="95" y="108"/>
                    <a:pt x="96" y="108"/>
                  </a:cubicBezTo>
                  <a:cubicBezTo>
                    <a:pt x="99" y="108"/>
                    <a:pt x="100" y="105"/>
                    <a:pt x="99" y="103"/>
                  </a:cubicBezTo>
                  <a:cubicBezTo>
                    <a:pt x="100" y="102"/>
                    <a:pt x="101" y="102"/>
                    <a:pt x="103" y="102"/>
                  </a:cubicBezTo>
                  <a:cubicBezTo>
                    <a:pt x="103" y="103"/>
                    <a:pt x="105" y="104"/>
                    <a:pt x="106" y="104"/>
                  </a:cubicBezTo>
                  <a:moveTo>
                    <a:pt x="65" y="59"/>
                  </a:moveTo>
                  <a:cubicBezTo>
                    <a:pt x="68" y="59"/>
                    <a:pt x="71" y="57"/>
                    <a:pt x="71" y="53"/>
                  </a:cubicBezTo>
                  <a:cubicBezTo>
                    <a:pt x="74" y="53"/>
                    <a:pt x="77" y="54"/>
                    <a:pt x="79" y="54"/>
                  </a:cubicBezTo>
                  <a:cubicBezTo>
                    <a:pt x="78" y="59"/>
                    <a:pt x="82" y="63"/>
                    <a:pt x="86" y="63"/>
                  </a:cubicBezTo>
                  <a:cubicBezTo>
                    <a:pt x="87" y="63"/>
                    <a:pt x="89" y="62"/>
                    <a:pt x="90" y="61"/>
                  </a:cubicBezTo>
                  <a:cubicBezTo>
                    <a:pt x="93" y="62"/>
                    <a:pt x="94" y="64"/>
                    <a:pt x="95" y="66"/>
                  </a:cubicBezTo>
                  <a:cubicBezTo>
                    <a:pt x="91" y="70"/>
                    <a:pt x="92" y="78"/>
                    <a:pt x="100" y="78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101" y="80"/>
                    <a:pt x="101" y="83"/>
                    <a:pt x="101" y="85"/>
                  </a:cubicBezTo>
                  <a:cubicBezTo>
                    <a:pt x="94" y="85"/>
                    <a:pt x="93" y="94"/>
                    <a:pt x="99" y="97"/>
                  </a:cubicBezTo>
                  <a:cubicBezTo>
                    <a:pt x="98" y="99"/>
                    <a:pt x="97" y="101"/>
                    <a:pt x="96" y="103"/>
                  </a:cubicBezTo>
                  <a:cubicBezTo>
                    <a:pt x="94" y="103"/>
                    <a:pt x="93" y="102"/>
                    <a:pt x="92" y="102"/>
                  </a:cubicBezTo>
                  <a:cubicBezTo>
                    <a:pt x="87" y="102"/>
                    <a:pt x="84" y="107"/>
                    <a:pt x="86" y="112"/>
                  </a:cubicBezTo>
                  <a:cubicBezTo>
                    <a:pt x="85" y="114"/>
                    <a:pt x="83" y="114"/>
                    <a:pt x="80" y="115"/>
                  </a:cubicBezTo>
                  <a:cubicBezTo>
                    <a:pt x="79" y="113"/>
                    <a:pt x="76" y="111"/>
                    <a:pt x="73" y="111"/>
                  </a:cubicBezTo>
                  <a:cubicBezTo>
                    <a:pt x="70" y="111"/>
                    <a:pt x="67" y="113"/>
                    <a:pt x="67" y="117"/>
                  </a:cubicBezTo>
                  <a:cubicBezTo>
                    <a:pt x="64" y="117"/>
                    <a:pt x="62" y="116"/>
                    <a:pt x="59" y="116"/>
                  </a:cubicBezTo>
                  <a:cubicBezTo>
                    <a:pt x="61" y="111"/>
                    <a:pt x="57" y="107"/>
                    <a:pt x="53" y="107"/>
                  </a:cubicBezTo>
                  <a:cubicBezTo>
                    <a:pt x="51" y="107"/>
                    <a:pt x="49" y="108"/>
                    <a:pt x="48" y="109"/>
                  </a:cubicBezTo>
                  <a:cubicBezTo>
                    <a:pt x="46" y="108"/>
                    <a:pt x="44" y="106"/>
                    <a:pt x="43" y="104"/>
                  </a:cubicBezTo>
                  <a:cubicBezTo>
                    <a:pt x="48" y="100"/>
                    <a:pt x="46" y="92"/>
                    <a:pt x="38" y="92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7" y="90"/>
                    <a:pt x="37" y="87"/>
                    <a:pt x="37" y="85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44" y="85"/>
                    <a:pt x="45" y="75"/>
                    <a:pt x="39" y="73"/>
                  </a:cubicBezTo>
                  <a:cubicBezTo>
                    <a:pt x="40" y="71"/>
                    <a:pt x="42" y="69"/>
                    <a:pt x="43" y="67"/>
                  </a:cubicBezTo>
                  <a:cubicBezTo>
                    <a:pt x="44" y="67"/>
                    <a:pt x="46" y="68"/>
                    <a:pt x="47" y="68"/>
                  </a:cubicBezTo>
                  <a:cubicBezTo>
                    <a:pt x="52" y="68"/>
                    <a:pt x="54" y="63"/>
                    <a:pt x="52" y="58"/>
                  </a:cubicBezTo>
                  <a:cubicBezTo>
                    <a:pt x="53" y="56"/>
                    <a:pt x="56" y="56"/>
                    <a:pt x="58" y="55"/>
                  </a:cubicBezTo>
                  <a:cubicBezTo>
                    <a:pt x="59" y="57"/>
                    <a:pt x="62" y="59"/>
                    <a:pt x="65" y="59"/>
                  </a:cubicBezTo>
                  <a:moveTo>
                    <a:pt x="54" y="0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175" y="132"/>
                    <a:pt x="175" y="132"/>
                    <a:pt x="175" y="132"/>
                  </a:cubicBezTo>
                  <a:cubicBezTo>
                    <a:pt x="175" y="132"/>
                    <a:pt x="175" y="132"/>
                    <a:pt x="175" y="132"/>
                  </a:cubicBezTo>
                  <a:cubicBezTo>
                    <a:pt x="54" y="0"/>
                    <a:pt x="54" y="0"/>
                    <a:pt x="54" y="0"/>
                  </a:cubicBezTo>
                </a:path>
              </a:pathLst>
            </a:custGeom>
            <a:solidFill>
              <a:srgbClr val="1C64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57"/>
            <p:cNvSpPr>
              <a:spLocks noEditPoints="1"/>
            </p:cNvSpPr>
            <p:nvPr userDrawn="1"/>
          </p:nvSpPr>
          <p:spPr bwMode="auto">
            <a:xfrm>
              <a:off x="2777" y="983"/>
              <a:ext cx="215" cy="198"/>
            </a:xfrm>
            <a:custGeom>
              <a:avLst/>
              <a:gdLst>
                <a:gd name="T0" fmla="*/ 183 w 291"/>
                <a:gd name="T1" fmla="*/ 227 h 268"/>
                <a:gd name="T2" fmla="*/ 150 w 291"/>
                <a:gd name="T3" fmla="*/ 226 h 268"/>
                <a:gd name="T4" fmla="*/ 151 w 291"/>
                <a:gd name="T5" fmla="*/ 190 h 268"/>
                <a:gd name="T6" fmla="*/ 184 w 291"/>
                <a:gd name="T7" fmla="*/ 191 h 268"/>
                <a:gd name="T8" fmla="*/ 183 w 291"/>
                <a:gd name="T9" fmla="*/ 227 h 268"/>
                <a:gd name="T10" fmla="*/ 154 w 291"/>
                <a:gd name="T11" fmla="*/ 91 h 268"/>
                <a:gd name="T12" fmla="*/ 155 w 291"/>
                <a:gd name="T13" fmla="*/ 47 h 268"/>
                <a:gd name="T14" fmla="*/ 163 w 291"/>
                <a:gd name="T15" fmla="*/ 46 h 268"/>
                <a:gd name="T16" fmla="*/ 164 w 291"/>
                <a:gd name="T17" fmla="*/ 46 h 268"/>
                <a:gd name="T18" fmla="*/ 218 w 291"/>
                <a:gd name="T19" fmla="*/ 102 h 268"/>
                <a:gd name="T20" fmla="*/ 208 w 291"/>
                <a:gd name="T21" fmla="*/ 132 h 268"/>
                <a:gd name="T22" fmla="*/ 201 w 291"/>
                <a:gd name="T23" fmla="*/ 145 h 268"/>
                <a:gd name="T24" fmla="*/ 195 w 291"/>
                <a:gd name="T25" fmla="*/ 155 h 268"/>
                <a:gd name="T26" fmla="*/ 190 w 291"/>
                <a:gd name="T27" fmla="*/ 174 h 268"/>
                <a:gd name="T28" fmla="*/ 187 w 291"/>
                <a:gd name="T29" fmla="*/ 182 h 268"/>
                <a:gd name="T30" fmla="*/ 182 w 291"/>
                <a:gd name="T31" fmla="*/ 185 h 268"/>
                <a:gd name="T32" fmla="*/ 181 w 291"/>
                <a:gd name="T33" fmla="*/ 185 h 268"/>
                <a:gd name="T34" fmla="*/ 177 w 291"/>
                <a:gd name="T35" fmla="*/ 185 h 268"/>
                <a:gd name="T36" fmla="*/ 172 w 291"/>
                <a:gd name="T37" fmla="*/ 185 h 268"/>
                <a:gd name="T38" fmla="*/ 151 w 291"/>
                <a:gd name="T39" fmla="*/ 184 h 268"/>
                <a:gd name="T40" fmla="*/ 153 w 291"/>
                <a:gd name="T41" fmla="*/ 118 h 268"/>
                <a:gd name="T42" fmla="*/ 178 w 291"/>
                <a:gd name="T43" fmla="*/ 139 h 268"/>
                <a:gd name="T44" fmla="*/ 189 w 291"/>
                <a:gd name="T45" fmla="*/ 78 h 268"/>
                <a:gd name="T46" fmla="*/ 154 w 291"/>
                <a:gd name="T47" fmla="*/ 91 h 268"/>
                <a:gd name="T48" fmla="*/ 113 w 291"/>
                <a:gd name="T49" fmla="*/ 75 h 268"/>
                <a:gd name="T50" fmla="*/ 124 w 291"/>
                <a:gd name="T51" fmla="*/ 71 h 268"/>
                <a:gd name="T52" fmla="*/ 135 w 291"/>
                <a:gd name="T53" fmla="*/ 46 h 268"/>
                <a:gd name="T54" fmla="*/ 135 w 291"/>
                <a:gd name="T55" fmla="*/ 46 h 268"/>
                <a:gd name="T56" fmla="*/ 145 w 291"/>
                <a:gd name="T57" fmla="*/ 46 h 268"/>
                <a:gd name="T58" fmla="*/ 144 w 291"/>
                <a:gd name="T59" fmla="*/ 108 h 268"/>
                <a:gd name="T60" fmla="*/ 143 w 291"/>
                <a:gd name="T61" fmla="*/ 108 h 268"/>
                <a:gd name="T62" fmla="*/ 114 w 291"/>
                <a:gd name="T63" fmla="*/ 136 h 268"/>
                <a:gd name="T64" fmla="*/ 143 w 291"/>
                <a:gd name="T65" fmla="*/ 165 h 268"/>
                <a:gd name="T66" fmla="*/ 143 w 291"/>
                <a:gd name="T67" fmla="*/ 165 h 268"/>
                <a:gd name="T68" fmla="*/ 141 w 291"/>
                <a:gd name="T69" fmla="*/ 227 h 268"/>
                <a:gd name="T70" fmla="*/ 131 w 291"/>
                <a:gd name="T71" fmla="*/ 227 h 268"/>
                <a:gd name="T72" fmla="*/ 120 w 291"/>
                <a:gd name="T73" fmla="*/ 201 h 268"/>
                <a:gd name="T74" fmla="*/ 109 w 291"/>
                <a:gd name="T75" fmla="*/ 197 h 268"/>
                <a:gd name="T76" fmla="*/ 84 w 291"/>
                <a:gd name="T77" fmla="*/ 206 h 268"/>
                <a:gd name="T78" fmla="*/ 84 w 291"/>
                <a:gd name="T79" fmla="*/ 206 h 268"/>
                <a:gd name="T80" fmla="*/ 70 w 291"/>
                <a:gd name="T81" fmla="*/ 192 h 268"/>
                <a:gd name="T82" fmla="*/ 80 w 291"/>
                <a:gd name="T83" fmla="*/ 167 h 268"/>
                <a:gd name="T84" fmla="*/ 76 w 291"/>
                <a:gd name="T85" fmla="*/ 155 h 268"/>
                <a:gd name="T86" fmla="*/ 51 w 291"/>
                <a:gd name="T87" fmla="*/ 144 h 268"/>
                <a:gd name="T88" fmla="*/ 51 w 291"/>
                <a:gd name="T89" fmla="*/ 124 h 268"/>
                <a:gd name="T90" fmla="*/ 77 w 291"/>
                <a:gd name="T91" fmla="*/ 114 h 268"/>
                <a:gd name="T92" fmla="*/ 82 w 291"/>
                <a:gd name="T93" fmla="*/ 103 h 268"/>
                <a:gd name="T94" fmla="*/ 72 w 291"/>
                <a:gd name="T95" fmla="*/ 78 h 268"/>
                <a:gd name="T96" fmla="*/ 87 w 291"/>
                <a:gd name="T97" fmla="*/ 64 h 268"/>
                <a:gd name="T98" fmla="*/ 87 w 291"/>
                <a:gd name="T99" fmla="*/ 64 h 268"/>
                <a:gd name="T100" fmla="*/ 113 w 291"/>
                <a:gd name="T101" fmla="*/ 75 h 268"/>
                <a:gd name="T102" fmla="*/ 145 w 291"/>
                <a:gd name="T103" fmla="*/ 0 h 268"/>
                <a:gd name="T104" fmla="*/ 14 w 291"/>
                <a:gd name="T105" fmla="*/ 108 h 268"/>
                <a:gd name="T106" fmla="*/ 119 w 291"/>
                <a:gd name="T107" fmla="*/ 265 h 268"/>
                <a:gd name="T108" fmla="*/ 144 w 291"/>
                <a:gd name="T109" fmla="*/ 268 h 268"/>
                <a:gd name="T110" fmla="*/ 147 w 291"/>
                <a:gd name="T111" fmla="*/ 268 h 268"/>
                <a:gd name="T112" fmla="*/ 276 w 291"/>
                <a:gd name="T113" fmla="*/ 160 h 268"/>
                <a:gd name="T114" fmla="*/ 171 w 291"/>
                <a:gd name="T115" fmla="*/ 3 h 268"/>
                <a:gd name="T116" fmla="*/ 145 w 291"/>
                <a:gd name="T117" fmla="*/ 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1" h="268">
                  <a:moveTo>
                    <a:pt x="183" y="227"/>
                  </a:moveTo>
                  <a:cubicBezTo>
                    <a:pt x="150" y="226"/>
                    <a:pt x="150" y="226"/>
                    <a:pt x="150" y="226"/>
                  </a:cubicBezTo>
                  <a:cubicBezTo>
                    <a:pt x="151" y="190"/>
                    <a:pt x="151" y="190"/>
                    <a:pt x="151" y="190"/>
                  </a:cubicBezTo>
                  <a:cubicBezTo>
                    <a:pt x="184" y="191"/>
                    <a:pt x="184" y="191"/>
                    <a:pt x="184" y="191"/>
                  </a:cubicBezTo>
                  <a:cubicBezTo>
                    <a:pt x="183" y="227"/>
                    <a:pt x="183" y="227"/>
                    <a:pt x="183" y="227"/>
                  </a:cubicBezTo>
                  <a:moveTo>
                    <a:pt x="154" y="91"/>
                  </a:moveTo>
                  <a:cubicBezTo>
                    <a:pt x="155" y="47"/>
                    <a:pt x="155" y="47"/>
                    <a:pt x="155" y="47"/>
                  </a:cubicBezTo>
                  <a:cubicBezTo>
                    <a:pt x="157" y="46"/>
                    <a:pt x="160" y="46"/>
                    <a:pt x="163" y="46"/>
                  </a:cubicBezTo>
                  <a:cubicBezTo>
                    <a:pt x="163" y="46"/>
                    <a:pt x="164" y="46"/>
                    <a:pt x="164" y="46"/>
                  </a:cubicBezTo>
                  <a:cubicBezTo>
                    <a:pt x="194" y="47"/>
                    <a:pt x="218" y="72"/>
                    <a:pt x="218" y="102"/>
                  </a:cubicBezTo>
                  <a:cubicBezTo>
                    <a:pt x="217" y="113"/>
                    <a:pt x="214" y="123"/>
                    <a:pt x="208" y="132"/>
                  </a:cubicBezTo>
                  <a:cubicBezTo>
                    <a:pt x="201" y="145"/>
                    <a:pt x="201" y="145"/>
                    <a:pt x="201" y="145"/>
                  </a:cubicBezTo>
                  <a:cubicBezTo>
                    <a:pt x="195" y="155"/>
                    <a:pt x="195" y="155"/>
                    <a:pt x="195" y="155"/>
                  </a:cubicBezTo>
                  <a:cubicBezTo>
                    <a:pt x="194" y="157"/>
                    <a:pt x="190" y="166"/>
                    <a:pt x="190" y="174"/>
                  </a:cubicBezTo>
                  <a:cubicBezTo>
                    <a:pt x="190" y="177"/>
                    <a:pt x="189" y="180"/>
                    <a:pt x="187" y="182"/>
                  </a:cubicBezTo>
                  <a:cubicBezTo>
                    <a:pt x="186" y="185"/>
                    <a:pt x="184" y="185"/>
                    <a:pt x="182" y="185"/>
                  </a:cubicBezTo>
                  <a:cubicBezTo>
                    <a:pt x="182" y="185"/>
                    <a:pt x="182" y="185"/>
                    <a:pt x="181" y="185"/>
                  </a:cubicBezTo>
                  <a:cubicBezTo>
                    <a:pt x="180" y="185"/>
                    <a:pt x="179" y="185"/>
                    <a:pt x="177" y="185"/>
                  </a:cubicBezTo>
                  <a:cubicBezTo>
                    <a:pt x="176" y="185"/>
                    <a:pt x="174" y="185"/>
                    <a:pt x="172" y="185"/>
                  </a:cubicBezTo>
                  <a:cubicBezTo>
                    <a:pt x="165" y="184"/>
                    <a:pt x="158" y="184"/>
                    <a:pt x="151" y="184"/>
                  </a:cubicBezTo>
                  <a:cubicBezTo>
                    <a:pt x="153" y="118"/>
                    <a:pt x="153" y="118"/>
                    <a:pt x="153" y="118"/>
                  </a:cubicBezTo>
                  <a:cubicBezTo>
                    <a:pt x="178" y="139"/>
                    <a:pt x="178" y="139"/>
                    <a:pt x="178" y="139"/>
                  </a:cubicBezTo>
                  <a:cubicBezTo>
                    <a:pt x="189" y="78"/>
                    <a:pt x="189" y="78"/>
                    <a:pt x="189" y="78"/>
                  </a:cubicBezTo>
                  <a:cubicBezTo>
                    <a:pt x="154" y="91"/>
                    <a:pt x="154" y="91"/>
                    <a:pt x="154" y="91"/>
                  </a:cubicBezTo>
                  <a:moveTo>
                    <a:pt x="113" y="75"/>
                  </a:moveTo>
                  <a:cubicBezTo>
                    <a:pt x="124" y="71"/>
                    <a:pt x="124" y="71"/>
                    <a:pt x="124" y="71"/>
                  </a:cubicBezTo>
                  <a:cubicBezTo>
                    <a:pt x="124" y="71"/>
                    <a:pt x="134" y="46"/>
                    <a:pt x="135" y="46"/>
                  </a:cubicBezTo>
                  <a:cubicBezTo>
                    <a:pt x="135" y="46"/>
                    <a:pt x="135" y="46"/>
                    <a:pt x="135" y="46"/>
                  </a:cubicBezTo>
                  <a:cubicBezTo>
                    <a:pt x="145" y="46"/>
                    <a:pt x="145" y="46"/>
                    <a:pt x="145" y="46"/>
                  </a:cubicBezTo>
                  <a:cubicBezTo>
                    <a:pt x="144" y="108"/>
                    <a:pt x="144" y="108"/>
                    <a:pt x="144" y="108"/>
                  </a:cubicBezTo>
                  <a:cubicBezTo>
                    <a:pt x="144" y="108"/>
                    <a:pt x="143" y="108"/>
                    <a:pt x="143" y="108"/>
                  </a:cubicBezTo>
                  <a:cubicBezTo>
                    <a:pt x="127" y="108"/>
                    <a:pt x="114" y="120"/>
                    <a:pt x="114" y="136"/>
                  </a:cubicBezTo>
                  <a:cubicBezTo>
                    <a:pt x="113" y="152"/>
                    <a:pt x="126" y="165"/>
                    <a:pt x="143" y="165"/>
                  </a:cubicBezTo>
                  <a:cubicBezTo>
                    <a:pt x="143" y="165"/>
                    <a:pt x="143" y="165"/>
                    <a:pt x="143" y="165"/>
                  </a:cubicBezTo>
                  <a:cubicBezTo>
                    <a:pt x="141" y="227"/>
                    <a:pt x="141" y="227"/>
                    <a:pt x="141" y="227"/>
                  </a:cubicBezTo>
                  <a:cubicBezTo>
                    <a:pt x="131" y="227"/>
                    <a:pt x="131" y="227"/>
                    <a:pt x="131" y="227"/>
                  </a:cubicBezTo>
                  <a:cubicBezTo>
                    <a:pt x="130" y="226"/>
                    <a:pt x="120" y="201"/>
                    <a:pt x="120" y="201"/>
                  </a:cubicBezTo>
                  <a:cubicBezTo>
                    <a:pt x="109" y="197"/>
                    <a:pt x="109" y="197"/>
                    <a:pt x="109" y="197"/>
                  </a:cubicBezTo>
                  <a:cubicBezTo>
                    <a:pt x="109" y="197"/>
                    <a:pt x="87" y="206"/>
                    <a:pt x="84" y="206"/>
                  </a:cubicBezTo>
                  <a:cubicBezTo>
                    <a:pt x="84" y="206"/>
                    <a:pt x="84" y="206"/>
                    <a:pt x="84" y="206"/>
                  </a:cubicBezTo>
                  <a:cubicBezTo>
                    <a:pt x="70" y="192"/>
                    <a:pt x="70" y="192"/>
                    <a:pt x="70" y="192"/>
                  </a:cubicBezTo>
                  <a:cubicBezTo>
                    <a:pt x="69" y="191"/>
                    <a:pt x="80" y="167"/>
                    <a:pt x="80" y="167"/>
                  </a:cubicBezTo>
                  <a:cubicBezTo>
                    <a:pt x="76" y="155"/>
                    <a:pt x="76" y="155"/>
                    <a:pt x="76" y="155"/>
                  </a:cubicBezTo>
                  <a:cubicBezTo>
                    <a:pt x="76" y="155"/>
                    <a:pt x="51" y="146"/>
                    <a:pt x="51" y="144"/>
                  </a:cubicBezTo>
                  <a:cubicBezTo>
                    <a:pt x="51" y="124"/>
                    <a:pt x="51" y="124"/>
                    <a:pt x="51" y="124"/>
                  </a:cubicBezTo>
                  <a:cubicBezTo>
                    <a:pt x="51" y="123"/>
                    <a:pt x="77" y="114"/>
                    <a:pt x="77" y="114"/>
                  </a:cubicBezTo>
                  <a:cubicBezTo>
                    <a:pt x="82" y="103"/>
                    <a:pt x="82" y="103"/>
                    <a:pt x="82" y="103"/>
                  </a:cubicBezTo>
                  <a:cubicBezTo>
                    <a:pt x="82" y="103"/>
                    <a:pt x="71" y="79"/>
                    <a:pt x="72" y="78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90" y="64"/>
                    <a:pt x="113" y="75"/>
                    <a:pt x="113" y="75"/>
                  </a:cubicBezTo>
                  <a:moveTo>
                    <a:pt x="145" y="0"/>
                  </a:moveTo>
                  <a:cubicBezTo>
                    <a:pt x="83" y="0"/>
                    <a:pt x="27" y="44"/>
                    <a:pt x="14" y="108"/>
                  </a:cubicBezTo>
                  <a:cubicBezTo>
                    <a:pt x="0" y="180"/>
                    <a:pt x="47" y="250"/>
                    <a:pt x="119" y="265"/>
                  </a:cubicBezTo>
                  <a:cubicBezTo>
                    <a:pt x="127" y="267"/>
                    <a:pt x="135" y="267"/>
                    <a:pt x="144" y="268"/>
                  </a:cubicBezTo>
                  <a:cubicBezTo>
                    <a:pt x="147" y="268"/>
                    <a:pt x="147" y="268"/>
                    <a:pt x="147" y="268"/>
                  </a:cubicBezTo>
                  <a:cubicBezTo>
                    <a:pt x="209" y="267"/>
                    <a:pt x="264" y="223"/>
                    <a:pt x="276" y="160"/>
                  </a:cubicBezTo>
                  <a:cubicBezTo>
                    <a:pt x="291" y="88"/>
                    <a:pt x="244" y="18"/>
                    <a:pt x="171" y="3"/>
                  </a:cubicBezTo>
                  <a:cubicBezTo>
                    <a:pt x="163" y="1"/>
                    <a:pt x="154" y="0"/>
                    <a:pt x="145" y="0"/>
                  </a:cubicBezTo>
                </a:path>
              </a:pathLst>
            </a:custGeom>
            <a:solidFill>
              <a:srgbClr val="216BB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7" name="Group 19"/>
          <p:cNvGrpSpPr>
            <a:grpSpLocks noChangeAspect="1"/>
          </p:cNvGrpSpPr>
          <p:nvPr userDrawn="1"/>
        </p:nvGrpSpPr>
        <p:grpSpPr bwMode="auto">
          <a:xfrm>
            <a:off x="8449097" y="4375544"/>
            <a:ext cx="438164" cy="423513"/>
            <a:chOff x="2074" y="843"/>
            <a:chExt cx="1615" cy="1561"/>
          </a:xfrm>
        </p:grpSpPr>
        <p:sp>
          <p:nvSpPr>
            <p:cNvPr id="118" name="Freeform 20"/>
            <p:cNvSpPr>
              <a:spLocks noEditPoints="1"/>
            </p:cNvSpPr>
            <p:nvPr userDrawn="1"/>
          </p:nvSpPr>
          <p:spPr bwMode="auto">
            <a:xfrm>
              <a:off x="2074" y="1379"/>
              <a:ext cx="1525" cy="442"/>
            </a:xfrm>
            <a:custGeom>
              <a:avLst/>
              <a:gdLst>
                <a:gd name="T0" fmla="*/ 646 w 646"/>
                <a:gd name="T1" fmla="*/ 0 h 187"/>
                <a:gd name="T2" fmla="*/ 0 w 646"/>
                <a:gd name="T3" fmla="*/ 187 h 187"/>
                <a:gd name="T4" fmla="*/ 0 w 646"/>
                <a:gd name="T5" fmla="*/ 0 h 187"/>
                <a:gd name="T6" fmla="*/ 334 w 646"/>
                <a:gd name="T7" fmla="*/ 41 h 187"/>
                <a:gd name="T8" fmla="*/ 298 w 646"/>
                <a:gd name="T9" fmla="*/ 41 h 187"/>
                <a:gd name="T10" fmla="*/ 289 w 646"/>
                <a:gd name="T11" fmla="*/ 66 h 187"/>
                <a:gd name="T12" fmla="*/ 325 w 646"/>
                <a:gd name="T13" fmla="*/ 48 h 187"/>
                <a:gd name="T14" fmla="*/ 316 w 646"/>
                <a:gd name="T15" fmla="*/ 140 h 187"/>
                <a:gd name="T16" fmla="*/ 358 w 646"/>
                <a:gd name="T17" fmla="*/ 144 h 187"/>
                <a:gd name="T18" fmla="*/ 343 w 646"/>
                <a:gd name="T19" fmla="*/ 130 h 187"/>
                <a:gd name="T20" fmla="*/ 343 w 646"/>
                <a:gd name="T21" fmla="*/ 47 h 187"/>
                <a:gd name="T22" fmla="*/ 375 w 646"/>
                <a:gd name="T23" fmla="*/ 66 h 187"/>
                <a:gd name="T24" fmla="*/ 377 w 646"/>
                <a:gd name="T25" fmla="*/ 37 h 187"/>
                <a:gd name="T26" fmla="*/ 207 w 646"/>
                <a:gd name="T27" fmla="*/ 69 h 187"/>
                <a:gd name="T28" fmla="*/ 233 w 646"/>
                <a:gd name="T29" fmla="*/ 141 h 187"/>
                <a:gd name="T30" fmla="*/ 204 w 646"/>
                <a:gd name="T31" fmla="*/ 116 h 187"/>
                <a:gd name="T32" fmla="*/ 270 w 646"/>
                <a:gd name="T33" fmla="*/ 119 h 187"/>
                <a:gd name="T34" fmla="*/ 225 w 646"/>
                <a:gd name="T35" fmla="*/ 69 h 187"/>
                <a:gd name="T36" fmla="*/ 258 w 646"/>
                <a:gd name="T37" fmla="*/ 56 h 187"/>
                <a:gd name="T38" fmla="*/ 266 w 646"/>
                <a:gd name="T39" fmla="*/ 64 h 187"/>
                <a:gd name="T40" fmla="*/ 207 w 646"/>
                <a:gd name="T41" fmla="*/ 69 h 187"/>
                <a:gd name="T42" fmla="*/ 44 w 646"/>
                <a:gd name="T43" fmla="*/ 45 h 187"/>
                <a:gd name="T44" fmla="*/ 58 w 646"/>
                <a:gd name="T45" fmla="*/ 93 h 187"/>
                <a:gd name="T46" fmla="*/ 43 w 646"/>
                <a:gd name="T47" fmla="*/ 144 h 187"/>
                <a:gd name="T48" fmla="*/ 124 w 646"/>
                <a:gd name="T49" fmla="*/ 119 h 187"/>
                <a:gd name="T50" fmla="*/ 93 w 646"/>
                <a:gd name="T51" fmla="*/ 139 h 187"/>
                <a:gd name="T52" fmla="*/ 76 w 646"/>
                <a:gd name="T53" fmla="*/ 92 h 187"/>
                <a:gd name="T54" fmla="*/ 85 w 646"/>
                <a:gd name="T55" fmla="*/ 45 h 187"/>
                <a:gd name="T56" fmla="*/ 44 w 646"/>
                <a:gd name="T57" fmla="*/ 41 h 187"/>
                <a:gd name="T58" fmla="*/ 139 w 646"/>
                <a:gd name="T59" fmla="*/ 42 h 187"/>
                <a:gd name="T60" fmla="*/ 152 w 646"/>
                <a:gd name="T61" fmla="*/ 56 h 187"/>
                <a:gd name="T62" fmla="*/ 152 w 646"/>
                <a:gd name="T63" fmla="*/ 130 h 187"/>
                <a:gd name="T64" fmla="*/ 139 w 646"/>
                <a:gd name="T65" fmla="*/ 142 h 187"/>
                <a:gd name="T66" fmla="*/ 173 w 646"/>
                <a:gd name="T67" fmla="*/ 145 h 187"/>
                <a:gd name="T68" fmla="*/ 173 w 646"/>
                <a:gd name="T69" fmla="*/ 138 h 187"/>
                <a:gd name="T70" fmla="*/ 170 w 646"/>
                <a:gd name="T71" fmla="*/ 94 h 187"/>
                <a:gd name="T72" fmla="*/ 184 w 646"/>
                <a:gd name="T73" fmla="*/ 41 h 187"/>
                <a:gd name="T74" fmla="*/ 139 w 646"/>
                <a:gd name="T75" fmla="*/ 42 h 187"/>
                <a:gd name="T76" fmla="*/ 411 w 646"/>
                <a:gd name="T77" fmla="*/ 67 h 187"/>
                <a:gd name="T78" fmla="*/ 408 w 646"/>
                <a:gd name="T79" fmla="*/ 137 h 187"/>
                <a:gd name="T80" fmla="*/ 395 w 646"/>
                <a:gd name="T81" fmla="*/ 144 h 187"/>
                <a:gd name="T82" fmla="*/ 479 w 646"/>
                <a:gd name="T83" fmla="*/ 119 h 187"/>
                <a:gd name="T84" fmla="*/ 447 w 646"/>
                <a:gd name="T85" fmla="*/ 139 h 187"/>
                <a:gd name="T86" fmla="*/ 428 w 646"/>
                <a:gd name="T87" fmla="*/ 118 h 187"/>
                <a:gd name="T88" fmla="*/ 455 w 646"/>
                <a:gd name="T89" fmla="*/ 96 h 187"/>
                <a:gd name="T90" fmla="*/ 463 w 646"/>
                <a:gd name="T91" fmla="*/ 108 h 187"/>
                <a:gd name="T92" fmla="*/ 458 w 646"/>
                <a:gd name="T93" fmla="*/ 74 h 187"/>
                <a:gd name="T94" fmla="*/ 428 w 646"/>
                <a:gd name="T95" fmla="*/ 87 h 187"/>
                <a:gd name="T96" fmla="*/ 460 w 646"/>
                <a:gd name="T97" fmla="*/ 50 h 187"/>
                <a:gd name="T98" fmla="*/ 471 w 646"/>
                <a:gd name="T99" fmla="*/ 65 h 187"/>
                <a:gd name="T100" fmla="*/ 397 w 646"/>
                <a:gd name="T101" fmla="*/ 41 h 187"/>
                <a:gd name="T102" fmla="*/ 495 w 646"/>
                <a:gd name="T103" fmla="*/ 42 h 187"/>
                <a:gd name="T104" fmla="*/ 506 w 646"/>
                <a:gd name="T105" fmla="*/ 48 h 187"/>
                <a:gd name="T106" fmla="*/ 508 w 646"/>
                <a:gd name="T107" fmla="*/ 117 h 187"/>
                <a:gd name="T108" fmla="*/ 494 w 646"/>
                <a:gd name="T109" fmla="*/ 143 h 187"/>
                <a:gd name="T110" fmla="*/ 533 w 646"/>
                <a:gd name="T111" fmla="*/ 145 h 187"/>
                <a:gd name="T112" fmla="*/ 584 w 646"/>
                <a:gd name="T113" fmla="*/ 51 h 187"/>
                <a:gd name="T114" fmla="*/ 495 w 646"/>
                <a:gd name="T115" fmla="*/ 42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46" h="187">
                  <a:moveTo>
                    <a:pt x="0" y="0"/>
                  </a:moveTo>
                  <a:cubicBezTo>
                    <a:pt x="646" y="0"/>
                    <a:pt x="646" y="0"/>
                    <a:pt x="646" y="0"/>
                  </a:cubicBezTo>
                  <a:cubicBezTo>
                    <a:pt x="646" y="186"/>
                    <a:pt x="646" y="186"/>
                    <a:pt x="646" y="186"/>
                  </a:cubicBezTo>
                  <a:cubicBezTo>
                    <a:pt x="431" y="187"/>
                    <a:pt x="215" y="186"/>
                    <a:pt x="0" y="18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369" y="41"/>
                  </a:moveTo>
                  <a:cubicBezTo>
                    <a:pt x="361" y="43"/>
                    <a:pt x="346" y="41"/>
                    <a:pt x="334" y="41"/>
                  </a:cubicBezTo>
                  <a:cubicBezTo>
                    <a:pt x="316" y="41"/>
                    <a:pt x="316" y="41"/>
                    <a:pt x="316" y="41"/>
                  </a:cubicBezTo>
                  <a:cubicBezTo>
                    <a:pt x="309" y="41"/>
                    <a:pt x="302" y="42"/>
                    <a:pt x="298" y="41"/>
                  </a:cubicBezTo>
                  <a:cubicBezTo>
                    <a:pt x="295" y="40"/>
                    <a:pt x="293" y="36"/>
                    <a:pt x="290" y="37"/>
                  </a:cubicBezTo>
                  <a:cubicBezTo>
                    <a:pt x="289" y="45"/>
                    <a:pt x="288" y="58"/>
                    <a:pt x="289" y="66"/>
                  </a:cubicBezTo>
                  <a:cubicBezTo>
                    <a:pt x="292" y="66"/>
                    <a:pt x="292" y="66"/>
                    <a:pt x="292" y="66"/>
                  </a:cubicBezTo>
                  <a:cubicBezTo>
                    <a:pt x="294" y="50"/>
                    <a:pt x="306" y="44"/>
                    <a:pt x="325" y="48"/>
                  </a:cubicBezTo>
                  <a:cubicBezTo>
                    <a:pt x="325" y="117"/>
                    <a:pt x="325" y="117"/>
                    <a:pt x="325" y="117"/>
                  </a:cubicBezTo>
                  <a:cubicBezTo>
                    <a:pt x="325" y="129"/>
                    <a:pt x="326" y="138"/>
                    <a:pt x="316" y="140"/>
                  </a:cubicBezTo>
                  <a:cubicBezTo>
                    <a:pt x="312" y="141"/>
                    <a:pt x="307" y="139"/>
                    <a:pt x="309" y="144"/>
                  </a:cubicBezTo>
                  <a:cubicBezTo>
                    <a:pt x="324" y="145"/>
                    <a:pt x="344" y="146"/>
                    <a:pt x="358" y="144"/>
                  </a:cubicBezTo>
                  <a:cubicBezTo>
                    <a:pt x="358" y="141"/>
                    <a:pt x="358" y="141"/>
                    <a:pt x="358" y="141"/>
                  </a:cubicBezTo>
                  <a:cubicBezTo>
                    <a:pt x="350" y="140"/>
                    <a:pt x="344" y="139"/>
                    <a:pt x="343" y="130"/>
                  </a:cubicBezTo>
                  <a:cubicBezTo>
                    <a:pt x="341" y="119"/>
                    <a:pt x="343" y="103"/>
                    <a:pt x="343" y="89"/>
                  </a:cubicBezTo>
                  <a:cubicBezTo>
                    <a:pt x="343" y="47"/>
                    <a:pt x="343" y="47"/>
                    <a:pt x="343" y="47"/>
                  </a:cubicBezTo>
                  <a:cubicBezTo>
                    <a:pt x="353" y="48"/>
                    <a:pt x="362" y="46"/>
                    <a:pt x="368" y="50"/>
                  </a:cubicBezTo>
                  <a:cubicBezTo>
                    <a:pt x="373" y="53"/>
                    <a:pt x="372" y="60"/>
                    <a:pt x="375" y="66"/>
                  </a:cubicBezTo>
                  <a:cubicBezTo>
                    <a:pt x="379" y="66"/>
                    <a:pt x="379" y="66"/>
                    <a:pt x="379" y="66"/>
                  </a:cubicBezTo>
                  <a:cubicBezTo>
                    <a:pt x="379" y="57"/>
                    <a:pt x="377" y="45"/>
                    <a:pt x="377" y="37"/>
                  </a:cubicBezTo>
                  <a:cubicBezTo>
                    <a:pt x="375" y="36"/>
                    <a:pt x="373" y="40"/>
                    <a:pt x="369" y="41"/>
                  </a:cubicBezTo>
                  <a:moveTo>
                    <a:pt x="207" y="69"/>
                  </a:moveTo>
                  <a:cubicBezTo>
                    <a:pt x="208" y="96"/>
                    <a:pt x="243" y="97"/>
                    <a:pt x="252" y="113"/>
                  </a:cubicBezTo>
                  <a:cubicBezTo>
                    <a:pt x="259" y="127"/>
                    <a:pt x="250" y="143"/>
                    <a:pt x="233" y="141"/>
                  </a:cubicBezTo>
                  <a:cubicBezTo>
                    <a:pt x="219" y="139"/>
                    <a:pt x="214" y="126"/>
                    <a:pt x="208" y="115"/>
                  </a:cubicBezTo>
                  <a:cubicBezTo>
                    <a:pt x="207" y="116"/>
                    <a:pt x="205" y="116"/>
                    <a:pt x="204" y="116"/>
                  </a:cubicBezTo>
                  <a:cubicBezTo>
                    <a:pt x="204" y="124"/>
                    <a:pt x="207" y="133"/>
                    <a:pt x="208" y="141"/>
                  </a:cubicBezTo>
                  <a:cubicBezTo>
                    <a:pt x="235" y="155"/>
                    <a:pt x="268" y="145"/>
                    <a:pt x="270" y="119"/>
                  </a:cubicBezTo>
                  <a:cubicBezTo>
                    <a:pt x="272" y="106"/>
                    <a:pt x="266" y="97"/>
                    <a:pt x="260" y="92"/>
                  </a:cubicBezTo>
                  <a:cubicBezTo>
                    <a:pt x="249" y="83"/>
                    <a:pt x="232" y="81"/>
                    <a:pt x="225" y="69"/>
                  </a:cubicBezTo>
                  <a:cubicBezTo>
                    <a:pt x="221" y="61"/>
                    <a:pt x="224" y="51"/>
                    <a:pt x="231" y="47"/>
                  </a:cubicBezTo>
                  <a:cubicBezTo>
                    <a:pt x="243" y="40"/>
                    <a:pt x="253" y="48"/>
                    <a:pt x="258" y="56"/>
                  </a:cubicBezTo>
                  <a:cubicBezTo>
                    <a:pt x="258" y="58"/>
                    <a:pt x="260" y="65"/>
                    <a:pt x="262" y="65"/>
                  </a:cubicBezTo>
                  <a:cubicBezTo>
                    <a:pt x="263" y="65"/>
                    <a:pt x="264" y="64"/>
                    <a:pt x="266" y="64"/>
                  </a:cubicBezTo>
                  <a:cubicBezTo>
                    <a:pt x="266" y="58"/>
                    <a:pt x="263" y="50"/>
                    <a:pt x="263" y="42"/>
                  </a:cubicBezTo>
                  <a:cubicBezTo>
                    <a:pt x="238" y="32"/>
                    <a:pt x="207" y="41"/>
                    <a:pt x="207" y="69"/>
                  </a:cubicBezTo>
                  <a:moveTo>
                    <a:pt x="44" y="42"/>
                  </a:moveTo>
                  <a:cubicBezTo>
                    <a:pt x="44" y="45"/>
                    <a:pt x="44" y="45"/>
                    <a:pt x="44" y="45"/>
                  </a:cubicBezTo>
                  <a:cubicBezTo>
                    <a:pt x="59" y="43"/>
                    <a:pt x="58" y="57"/>
                    <a:pt x="58" y="71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58" y="106"/>
                    <a:pt x="61" y="135"/>
                    <a:pt x="53" y="139"/>
                  </a:cubicBezTo>
                  <a:cubicBezTo>
                    <a:pt x="49" y="141"/>
                    <a:pt x="42" y="138"/>
                    <a:pt x="43" y="144"/>
                  </a:cubicBezTo>
                  <a:cubicBezTo>
                    <a:pt x="67" y="146"/>
                    <a:pt x="94" y="144"/>
                    <a:pt x="118" y="145"/>
                  </a:cubicBezTo>
                  <a:cubicBezTo>
                    <a:pt x="120" y="136"/>
                    <a:pt x="123" y="128"/>
                    <a:pt x="124" y="119"/>
                  </a:cubicBezTo>
                  <a:cubicBezTo>
                    <a:pt x="118" y="116"/>
                    <a:pt x="118" y="121"/>
                    <a:pt x="117" y="124"/>
                  </a:cubicBezTo>
                  <a:cubicBezTo>
                    <a:pt x="113" y="135"/>
                    <a:pt x="107" y="139"/>
                    <a:pt x="93" y="139"/>
                  </a:cubicBezTo>
                  <a:cubicBezTo>
                    <a:pt x="84" y="139"/>
                    <a:pt x="77" y="138"/>
                    <a:pt x="76" y="127"/>
                  </a:cubicBezTo>
                  <a:cubicBezTo>
                    <a:pt x="75" y="117"/>
                    <a:pt x="76" y="104"/>
                    <a:pt x="76" y="92"/>
                  </a:cubicBezTo>
                  <a:cubicBezTo>
                    <a:pt x="76" y="79"/>
                    <a:pt x="75" y="66"/>
                    <a:pt x="76" y="56"/>
                  </a:cubicBezTo>
                  <a:cubicBezTo>
                    <a:pt x="76" y="48"/>
                    <a:pt x="79" y="47"/>
                    <a:pt x="85" y="45"/>
                  </a:cubicBezTo>
                  <a:cubicBezTo>
                    <a:pt x="87" y="45"/>
                    <a:pt x="91" y="47"/>
                    <a:pt x="90" y="42"/>
                  </a:cubicBezTo>
                  <a:cubicBezTo>
                    <a:pt x="76" y="40"/>
                    <a:pt x="59" y="41"/>
                    <a:pt x="44" y="41"/>
                  </a:cubicBezTo>
                  <a:cubicBezTo>
                    <a:pt x="44" y="41"/>
                    <a:pt x="44" y="41"/>
                    <a:pt x="44" y="42"/>
                  </a:cubicBezTo>
                  <a:moveTo>
                    <a:pt x="139" y="42"/>
                  </a:moveTo>
                  <a:cubicBezTo>
                    <a:pt x="139" y="45"/>
                    <a:pt x="139" y="45"/>
                    <a:pt x="139" y="45"/>
                  </a:cubicBezTo>
                  <a:cubicBezTo>
                    <a:pt x="147" y="45"/>
                    <a:pt x="151" y="47"/>
                    <a:pt x="152" y="56"/>
                  </a:cubicBezTo>
                  <a:cubicBezTo>
                    <a:pt x="153" y="66"/>
                    <a:pt x="152" y="78"/>
                    <a:pt x="152" y="93"/>
                  </a:cubicBezTo>
                  <a:cubicBezTo>
                    <a:pt x="152" y="106"/>
                    <a:pt x="153" y="120"/>
                    <a:pt x="152" y="130"/>
                  </a:cubicBezTo>
                  <a:cubicBezTo>
                    <a:pt x="152" y="132"/>
                    <a:pt x="151" y="136"/>
                    <a:pt x="151" y="137"/>
                  </a:cubicBezTo>
                  <a:cubicBezTo>
                    <a:pt x="148" y="140"/>
                    <a:pt x="139" y="140"/>
                    <a:pt x="139" y="142"/>
                  </a:cubicBezTo>
                  <a:cubicBezTo>
                    <a:pt x="138" y="143"/>
                    <a:pt x="139" y="143"/>
                    <a:pt x="139" y="144"/>
                  </a:cubicBezTo>
                  <a:cubicBezTo>
                    <a:pt x="146" y="146"/>
                    <a:pt x="162" y="145"/>
                    <a:pt x="173" y="145"/>
                  </a:cubicBezTo>
                  <a:cubicBezTo>
                    <a:pt x="177" y="145"/>
                    <a:pt x="186" y="147"/>
                    <a:pt x="184" y="141"/>
                  </a:cubicBezTo>
                  <a:cubicBezTo>
                    <a:pt x="181" y="140"/>
                    <a:pt x="175" y="140"/>
                    <a:pt x="173" y="138"/>
                  </a:cubicBezTo>
                  <a:cubicBezTo>
                    <a:pt x="170" y="135"/>
                    <a:pt x="170" y="124"/>
                    <a:pt x="170" y="118"/>
                  </a:cubicBezTo>
                  <a:cubicBezTo>
                    <a:pt x="170" y="94"/>
                    <a:pt x="170" y="94"/>
                    <a:pt x="170" y="94"/>
                  </a:cubicBezTo>
                  <a:cubicBezTo>
                    <a:pt x="170" y="82"/>
                    <a:pt x="167" y="53"/>
                    <a:pt x="173" y="48"/>
                  </a:cubicBezTo>
                  <a:cubicBezTo>
                    <a:pt x="176" y="44"/>
                    <a:pt x="186" y="47"/>
                    <a:pt x="184" y="41"/>
                  </a:cubicBezTo>
                  <a:cubicBezTo>
                    <a:pt x="170" y="40"/>
                    <a:pt x="154" y="41"/>
                    <a:pt x="139" y="41"/>
                  </a:cubicBezTo>
                  <a:cubicBezTo>
                    <a:pt x="139" y="41"/>
                    <a:pt x="139" y="41"/>
                    <a:pt x="139" y="42"/>
                  </a:cubicBezTo>
                  <a:moveTo>
                    <a:pt x="397" y="45"/>
                  </a:moveTo>
                  <a:cubicBezTo>
                    <a:pt x="410" y="44"/>
                    <a:pt x="410" y="53"/>
                    <a:pt x="411" y="67"/>
                  </a:cubicBezTo>
                  <a:cubicBezTo>
                    <a:pt x="411" y="83"/>
                    <a:pt x="411" y="99"/>
                    <a:pt x="411" y="115"/>
                  </a:cubicBezTo>
                  <a:cubicBezTo>
                    <a:pt x="411" y="123"/>
                    <a:pt x="411" y="134"/>
                    <a:pt x="408" y="137"/>
                  </a:cubicBezTo>
                  <a:cubicBezTo>
                    <a:pt x="405" y="141"/>
                    <a:pt x="398" y="139"/>
                    <a:pt x="395" y="141"/>
                  </a:cubicBezTo>
                  <a:cubicBezTo>
                    <a:pt x="395" y="144"/>
                    <a:pt x="395" y="144"/>
                    <a:pt x="395" y="144"/>
                  </a:cubicBezTo>
                  <a:cubicBezTo>
                    <a:pt x="421" y="145"/>
                    <a:pt x="448" y="145"/>
                    <a:pt x="474" y="145"/>
                  </a:cubicBezTo>
                  <a:cubicBezTo>
                    <a:pt x="476" y="137"/>
                    <a:pt x="478" y="128"/>
                    <a:pt x="479" y="119"/>
                  </a:cubicBezTo>
                  <a:cubicBezTo>
                    <a:pt x="473" y="116"/>
                    <a:pt x="473" y="123"/>
                    <a:pt x="471" y="127"/>
                  </a:cubicBezTo>
                  <a:cubicBezTo>
                    <a:pt x="467" y="136"/>
                    <a:pt x="460" y="139"/>
                    <a:pt x="447" y="139"/>
                  </a:cubicBezTo>
                  <a:cubicBezTo>
                    <a:pt x="444" y="139"/>
                    <a:pt x="436" y="139"/>
                    <a:pt x="432" y="137"/>
                  </a:cubicBezTo>
                  <a:cubicBezTo>
                    <a:pt x="428" y="135"/>
                    <a:pt x="428" y="125"/>
                    <a:pt x="428" y="118"/>
                  </a:cubicBezTo>
                  <a:cubicBezTo>
                    <a:pt x="428" y="109"/>
                    <a:pt x="428" y="101"/>
                    <a:pt x="428" y="94"/>
                  </a:cubicBezTo>
                  <a:cubicBezTo>
                    <a:pt x="437" y="96"/>
                    <a:pt x="449" y="92"/>
                    <a:pt x="455" y="96"/>
                  </a:cubicBezTo>
                  <a:cubicBezTo>
                    <a:pt x="458" y="99"/>
                    <a:pt x="456" y="104"/>
                    <a:pt x="459" y="108"/>
                  </a:cubicBezTo>
                  <a:cubicBezTo>
                    <a:pt x="463" y="108"/>
                    <a:pt x="463" y="108"/>
                    <a:pt x="463" y="108"/>
                  </a:cubicBezTo>
                  <a:cubicBezTo>
                    <a:pt x="463" y="74"/>
                    <a:pt x="463" y="74"/>
                    <a:pt x="463" y="74"/>
                  </a:cubicBezTo>
                  <a:cubicBezTo>
                    <a:pt x="458" y="74"/>
                    <a:pt x="458" y="74"/>
                    <a:pt x="458" y="74"/>
                  </a:cubicBezTo>
                  <a:cubicBezTo>
                    <a:pt x="457" y="79"/>
                    <a:pt x="458" y="84"/>
                    <a:pt x="454" y="86"/>
                  </a:cubicBezTo>
                  <a:cubicBezTo>
                    <a:pt x="448" y="89"/>
                    <a:pt x="436" y="86"/>
                    <a:pt x="428" y="87"/>
                  </a:cubicBezTo>
                  <a:cubicBezTo>
                    <a:pt x="429" y="76"/>
                    <a:pt x="426" y="57"/>
                    <a:pt x="430" y="47"/>
                  </a:cubicBezTo>
                  <a:cubicBezTo>
                    <a:pt x="441" y="48"/>
                    <a:pt x="453" y="45"/>
                    <a:pt x="460" y="50"/>
                  </a:cubicBezTo>
                  <a:cubicBezTo>
                    <a:pt x="465" y="53"/>
                    <a:pt x="464" y="60"/>
                    <a:pt x="468" y="65"/>
                  </a:cubicBezTo>
                  <a:cubicBezTo>
                    <a:pt x="469" y="66"/>
                    <a:pt x="469" y="65"/>
                    <a:pt x="471" y="65"/>
                  </a:cubicBezTo>
                  <a:cubicBezTo>
                    <a:pt x="471" y="58"/>
                    <a:pt x="470" y="48"/>
                    <a:pt x="469" y="41"/>
                  </a:cubicBezTo>
                  <a:cubicBezTo>
                    <a:pt x="397" y="41"/>
                    <a:pt x="397" y="41"/>
                    <a:pt x="397" y="41"/>
                  </a:cubicBezTo>
                  <a:cubicBezTo>
                    <a:pt x="396" y="41"/>
                    <a:pt x="397" y="44"/>
                    <a:pt x="397" y="45"/>
                  </a:cubicBezTo>
                  <a:moveTo>
                    <a:pt x="495" y="42"/>
                  </a:moveTo>
                  <a:cubicBezTo>
                    <a:pt x="495" y="45"/>
                    <a:pt x="495" y="45"/>
                    <a:pt x="495" y="45"/>
                  </a:cubicBezTo>
                  <a:cubicBezTo>
                    <a:pt x="498" y="46"/>
                    <a:pt x="504" y="45"/>
                    <a:pt x="506" y="48"/>
                  </a:cubicBezTo>
                  <a:cubicBezTo>
                    <a:pt x="509" y="52"/>
                    <a:pt x="508" y="62"/>
                    <a:pt x="508" y="70"/>
                  </a:cubicBezTo>
                  <a:cubicBezTo>
                    <a:pt x="508" y="117"/>
                    <a:pt x="508" y="117"/>
                    <a:pt x="508" y="117"/>
                  </a:cubicBezTo>
                  <a:cubicBezTo>
                    <a:pt x="508" y="131"/>
                    <a:pt x="509" y="138"/>
                    <a:pt x="499" y="140"/>
                  </a:cubicBezTo>
                  <a:cubicBezTo>
                    <a:pt x="498" y="141"/>
                    <a:pt x="493" y="139"/>
                    <a:pt x="494" y="143"/>
                  </a:cubicBezTo>
                  <a:cubicBezTo>
                    <a:pt x="494" y="146"/>
                    <a:pt x="495" y="145"/>
                    <a:pt x="497" y="145"/>
                  </a:cubicBezTo>
                  <a:cubicBezTo>
                    <a:pt x="508" y="146"/>
                    <a:pt x="523" y="145"/>
                    <a:pt x="533" y="145"/>
                  </a:cubicBezTo>
                  <a:cubicBezTo>
                    <a:pt x="573" y="145"/>
                    <a:pt x="602" y="127"/>
                    <a:pt x="601" y="88"/>
                  </a:cubicBezTo>
                  <a:cubicBezTo>
                    <a:pt x="601" y="71"/>
                    <a:pt x="593" y="58"/>
                    <a:pt x="584" y="51"/>
                  </a:cubicBezTo>
                  <a:cubicBezTo>
                    <a:pt x="564" y="37"/>
                    <a:pt x="530" y="42"/>
                    <a:pt x="496" y="41"/>
                  </a:cubicBezTo>
                  <a:cubicBezTo>
                    <a:pt x="495" y="41"/>
                    <a:pt x="495" y="41"/>
                    <a:pt x="495" y="42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21"/>
            <p:cNvSpPr>
              <a:spLocks/>
            </p:cNvSpPr>
            <p:nvPr userDrawn="1"/>
          </p:nvSpPr>
          <p:spPr bwMode="auto">
            <a:xfrm>
              <a:off x="3311" y="1478"/>
              <a:ext cx="135" cy="229"/>
            </a:xfrm>
            <a:custGeom>
              <a:avLst/>
              <a:gdLst>
                <a:gd name="T0" fmla="*/ 3 w 57"/>
                <a:gd name="T1" fmla="*/ 6 h 97"/>
                <a:gd name="T2" fmla="*/ 57 w 57"/>
                <a:gd name="T3" fmla="*/ 51 h 97"/>
                <a:gd name="T4" fmla="*/ 22 w 57"/>
                <a:gd name="T5" fmla="*/ 97 h 97"/>
                <a:gd name="T6" fmla="*/ 6 w 57"/>
                <a:gd name="T7" fmla="*/ 94 h 97"/>
                <a:gd name="T8" fmla="*/ 2 w 57"/>
                <a:gd name="T9" fmla="*/ 51 h 97"/>
                <a:gd name="T10" fmla="*/ 3 w 57"/>
                <a:gd name="T11" fmla="*/ 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97">
                  <a:moveTo>
                    <a:pt x="3" y="6"/>
                  </a:moveTo>
                  <a:cubicBezTo>
                    <a:pt x="38" y="0"/>
                    <a:pt x="57" y="18"/>
                    <a:pt x="57" y="51"/>
                  </a:cubicBezTo>
                  <a:cubicBezTo>
                    <a:pt x="57" y="74"/>
                    <a:pt x="46" y="94"/>
                    <a:pt x="22" y="97"/>
                  </a:cubicBezTo>
                  <a:cubicBezTo>
                    <a:pt x="16" y="97"/>
                    <a:pt x="9" y="97"/>
                    <a:pt x="6" y="94"/>
                  </a:cubicBezTo>
                  <a:cubicBezTo>
                    <a:pt x="0" y="89"/>
                    <a:pt x="2" y="62"/>
                    <a:pt x="2" y="51"/>
                  </a:cubicBezTo>
                  <a:cubicBezTo>
                    <a:pt x="2" y="35"/>
                    <a:pt x="1" y="20"/>
                    <a:pt x="3" y="6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22"/>
            <p:cNvSpPr>
              <a:spLocks/>
            </p:cNvSpPr>
            <p:nvPr userDrawn="1"/>
          </p:nvSpPr>
          <p:spPr bwMode="auto">
            <a:xfrm>
              <a:off x="2914" y="1903"/>
              <a:ext cx="321" cy="501"/>
            </a:xfrm>
            <a:custGeom>
              <a:avLst/>
              <a:gdLst>
                <a:gd name="T0" fmla="*/ 123 w 136"/>
                <a:gd name="T1" fmla="*/ 13 h 212"/>
                <a:gd name="T2" fmla="*/ 123 w 136"/>
                <a:gd name="T3" fmla="*/ 43 h 212"/>
                <a:gd name="T4" fmla="*/ 46 w 136"/>
                <a:gd name="T5" fmla="*/ 44 h 212"/>
                <a:gd name="T6" fmla="*/ 44 w 136"/>
                <a:gd name="T7" fmla="*/ 64 h 212"/>
                <a:gd name="T8" fmla="*/ 75 w 136"/>
                <a:gd name="T9" fmla="*/ 85 h 212"/>
                <a:gd name="T10" fmla="*/ 132 w 136"/>
                <a:gd name="T11" fmla="*/ 133 h 212"/>
                <a:gd name="T12" fmla="*/ 129 w 136"/>
                <a:gd name="T13" fmla="*/ 176 h 212"/>
                <a:gd name="T14" fmla="*/ 77 w 136"/>
                <a:gd name="T15" fmla="*/ 209 h 212"/>
                <a:gd name="T16" fmla="*/ 5 w 136"/>
                <a:gd name="T17" fmla="*/ 200 h 212"/>
                <a:gd name="T18" fmla="*/ 5 w 136"/>
                <a:gd name="T19" fmla="*/ 170 h 212"/>
                <a:gd name="T20" fmla="*/ 90 w 136"/>
                <a:gd name="T21" fmla="*/ 166 h 212"/>
                <a:gd name="T22" fmla="*/ 91 w 136"/>
                <a:gd name="T23" fmla="*/ 146 h 212"/>
                <a:gd name="T24" fmla="*/ 51 w 136"/>
                <a:gd name="T25" fmla="*/ 119 h 212"/>
                <a:gd name="T26" fmla="*/ 2 w 136"/>
                <a:gd name="T27" fmla="*/ 57 h 212"/>
                <a:gd name="T28" fmla="*/ 24 w 136"/>
                <a:gd name="T29" fmla="*/ 18 h 212"/>
                <a:gd name="T30" fmla="*/ 123 w 136"/>
                <a:gd name="T31" fmla="*/ 1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6" h="212">
                  <a:moveTo>
                    <a:pt x="123" y="13"/>
                  </a:moveTo>
                  <a:cubicBezTo>
                    <a:pt x="123" y="43"/>
                    <a:pt x="123" y="43"/>
                    <a:pt x="123" y="43"/>
                  </a:cubicBezTo>
                  <a:cubicBezTo>
                    <a:pt x="104" y="36"/>
                    <a:pt x="59" y="24"/>
                    <a:pt x="46" y="44"/>
                  </a:cubicBezTo>
                  <a:cubicBezTo>
                    <a:pt x="43" y="49"/>
                    <a:pt x="42" y="57"/>
                    <a:pt x="44" y="64"/>
                  </a:cubicBezTo>
                  <a:cubicBezTo>
                    <a:pt x="48" y="74"/>
                    <a:pt x="64" y="80"/>
                    <a:pt x="75" y="85"/>
                  </a:cubicBezTo>
                  <a:cubicBezTo>
                    <a:pt x="99" y="96"/>
                    <a:pt x="124" y="106"/>
                    <a:pt x="132" y="133"/>
                  </a:cubicBezTo>
                  <a:cubicBezTo>
                    <a:pt x="136" y="145"/>
                    <a:pt x="135" y="163"/>
                    <a:pt x="129" y="176"/>
                  </a:cubicBezTo>
                  <a:cubicBezTo>
                    <a:pt x="120" y="194"/>
                    <a:pt x="100" y="206"/>
                    <a:pt x="77" y="209"/>
                  </a:cubicBezTo>
                  <a:cubicBezTo>
                    <a:pt x="52" y="212"/>
                    <a:pt x="27" y="207"/>
                    <a:pt x="5" y="200"/>
                  </a:cubicBezTo>
                  <a:cubicBezTo>
                    <a:pt x="5" y="170"/>
                    <a:pt x="5" y="170"/>
                    <a:pt x="5" y="170"/>
                  </a:cubicBezTo>
                  <a:cubicBezTo>
                    <a:pt x="27" y="178"/>
                    <a:pt x="79" y="190"/>
                    <a:pt x="90" y="166"/>
                  </a:cubicBezTo>
                  <a:cubicBezTo>
                    <a:pt x="93" y="161"/>
                    <a:pt x="94" y="153"/>
                    <a:pt x="91" y="146"/>
                  </a:cubicBezTo>
                  <a:cubicBezTo>
                    <a:pt x="86" y="133"/>
                    <a:pt x="64" y="126"/>
                    <a:pt x="51" y="119"/>
                  </a:cubicBezTo>
                  <a:cubicBezTo>
                    <a:pt x="26" y="107"/>
                    <a:pt x="0" y="94"/>
                    <a:pt x="2" y="57"/>
                  </a:cubicBezTo>
                  <a:cubicBezTo>
                    <a:pt x="3" y="38"/>
                    <a:pt x="12" y="27"/>
                    <a:pt x="24" y="18"/>
                  </a:cubicBezTo>
                  <a:cubicBezTo>
                    <a:pt x="47" y="2"/>
                    <a:pt x="94" y="0"/>
                    <a:pt x="123" y="13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23"/>
            <p:cNvSpPr>
              <a:spLocks/>
            </p:cNvSpPr>
            <p:nvPr userDrawn="1"/>
          </p:nvSpPr>
          <p:spPr bwMode="auto">
            <a:xfrm>
              <a:off x="2074" y="1920"/>
              <a:ext cx="377" cy="472"/>
            </a:xfrm>
            <a:custGeom>
              <a:avLst/>
              <a:gdLst>
                <a:gd name="T0" fmla="*/ 0 w 160"/>
                <a:gd name="T1" fmla="*/ 0 h 200"/>
                <a:gd name="T2" fmla="*/ 60 w 160"/>
                <a:gd name="T3" fmla="*/ 0 h 200"/>
                <a:gd name="T4" fmla="*/ 122 w 160"/>
                <a:gd name="T5" fmla="*/ 144 h 200"/>
                <a:gd name="T6" fmla="*/ 123 w 160"/>
                <a:gd name="T7" fmla="*/ 0 h 200"/>
                <a:gd name="T8" fmla="*/ 160 w 160"/>
                <a:gd name="T9" fmla="*/ 0 h 200"/>
                <a:gd name="T10" fmla="*/ 160 w 160"/>
                <a:gd name="T11" fmla="*/ 200 h 200"/>
                <a:gd name="T12" fmla="*/ 107 w 160"/>
                <a:gd name="T13" fmla="*/ 200 h 200"/>
                <a:gd name="T14" fmla="*/ 37 w 160"/>
                <a:gd name="T15" fmla="*/ 43 h 200"/>
                <a:gd name="T16" fmla="*/ 37 w 160"/>
                <a:gd name="T17" fmla="*/ 200 h 200"/>
                <a:gd name="T18" fmla="*/ 0 w 160"/>
                <a:gd name="T19" fmla="*/ 200 h 200"/>
                <a:gd name="T20" fmla="*/ 0 w 160"/>
                <a:gd name="T21" fmla="*/ 1 h 200"/>
                <a:gd name="T22" fmla="*/ 0 w 160"/>
                <a:gd name="T23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0" h="200">
                  <a:moveTo>
                    <a:pt x="0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81" y="48"/>
                    <a:pt x="102" y="95"/>
                    <a:pt x="122" y="144"/>
                  </a:cubicBezTo>
                  <a:cubicBezTo>
                    <a:pt x="123" y="97"/>
                    <a:pt x="123" y="48"/>
                    <a:pt x="123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60" y="200"/>
                    <a:pt x="160" y="200"/>
                    <a:pt x="160" y="200"/>
                  </a:cubicBezTo>
                  <a:cubicBezTo>
                    <a:pt x="107" y="200"/>
                    <a:pt x="107" y="200"/>
                    <a:pt x="107" y="200"/>
                  </a:cubicBezTo>
                  <a:cubicBezTo>
                    <a:pt x="83" y="149"/>
                    <a:pt x="61" y="95"/>
                    <a:pt x="37" y="43"/>
                  </a:cubicBezTo>
                  <a:cubicBezTo>
                    <a:pt x="37" y="200"/>
                    <a:pt x="37" y="200"/>
                    <a:pt x="37" y="200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24"/>
            <p:cNvSpPr>
              <a:spLocks/>
            </p:cNvSpPr>
            <p:nvPr userDrawn="1"/>
          </p:nvSpPr>
          <p:spPr bwMode="auto">
            <a:xfrm>
              <a:off x="2489" y="1920"/>
              <a:ext cx="416" cy="472"/>
            </a:xfrm>
            <a:custGeom>
              <a:avLst/>
              <a:gdLst>
                <a:gd name="T0" fmla="*/ 48 w 176"/>
                <a:gd name="T1" fmla="*/ 0 h 200"/>
                <a:gd name="T2" fmla="*/ 92 w 176"/>
                <a:gd name="T3" fmla="*/ 88 h 200"/>
                <a:gd name="T4" fmla="*/ 136 w 176"/>
                <a:gd name="T5" fmla="*/ 0 h 200"/>
                <a:gd name="T6" fmla="*/ 176 w 176"/>
                <a:gd name="T7" fmla="*/ 0 h 200"/>
                <a:gd name="T8" fmla="*/ 117 w 176"/>
                <a:gd name="T9" fmla="*/ 109 h 200"/>
                <a:gd name="T10" fmla="*/ 109 w 176"/>
                <a:gd name="T11" fmla="*/ 125 h 200"/>
                <a:gd name="T12" fmla="*/ 109 w 176"/>
                <a:gd name="T13" fmla="*/ 144 h 200"/>
                <a:gd name="T14" fmla="*/ 109 w 176"/>
                <a:gd name="T15" fmla="*/ 200 h 200"/>
                <a:gd name="T16" fmla="*/ 66 w 176"/>
                <a:gd name="T17" fmla="*/ 200 h 200"/>
                <a:gd name="T18" fmla="*/ 66 w 176"/>
                <a:gd name="T19" fmla="*/ 143 h 200"/>
                <a:gd name="T20" fmla="*/ 66 w 176"/>
                <a:gd name="T21" fmla="*/ 124 h 200"/>
                <a:gd name="T22" fmla="*/ 58 w 176"/>
                <a:gd name="T23" fmla="*/ 108 h 200"/>
                <a:gd name="T24" fmla="*/ 1 w 176"/>
                <a:gd name="T25" fmla="*/ 0 h 200"/>
                <a:gd name="T26" fmla="*/ 2 w 176"/>
                <a:gd name="T27" fmla="*/ 0 h 200"/>
                <a:gd name="T28" fmla="*/ 48 w 176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6" h="200">
                  <a:moveTo>
                    <a:pt x="48" y="0"/>
                  </a:moveTo>
                  <a:cubicBezTo>
                    <a:pt x="63" y="29"/>
                    <a:pt x="77" y="58"/>
                    <a:pt x="92" y="88"/>
                  </a:cubicBezTo>
                  <a:cubicBezTo>
                    <a:pt x="107" y="59"/>
                    <a:pt x="121" y="29"/>
                    <a:pt x="136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57" y="36"/>
                    <a:pt x="137" y="72"/>
                    <a:pt x="117" y="109"/>
                  </a:cubicBezTo>
                  <a:cubicBezTo>
                    <a:pt x="115" y="114"/>
                    <a:pt x="110" y="120"/>
                    <a:pt x="109" y="125"/>
                  </a:cubicBezTo>
                  <a:cubicBezTo>
                    <a:pt x="108" y="130"/>
                    <a:pt x="109" y="137"/>
                    <a:pt x="109" y="144"/>
                  </a:cubicBezTo>
                  <a:cubicBezTo>
                    <a:pt x="109" y="200"/>
                    <a:pt x="109" y="200"/>
                    <a:pt x="109" y="200"/>
                  </a:cubicBezTo>
                  <a:cubicBezTo>
                    <a:pt x="66" y="200"/>
                    <a:pt x="66" y="200"/>
                    <a:pt x="66" y="200"/>
                  </a:cubicBezTo>
                  <a:cubicBezTo>
                    <a:pt x="66" y="143"/>
                    <a:pt x="66" y="143"/>
                    <a:pt x="66" y="143"/>
                  </a:cubicBezTo>
                  <a:cubicBezTo>
                    <a:pt x="66" y="137"/>
                    <a:pt x="67" y="130"/>
                    <a:pt x="66" y="124"/>
                  </a:cubicBezTo>
                  <a:cubicBezTo>
                    <a:pt x="66" y="120"/>
                    <a:pt x="61" y="113"/>
                    <a:pt x="58" y="108"/>
                  </a:cubicBezTo>
                  <a:cubicBezTo>
                    <a:pt x="39" y="73"/>
                    <a:pt x="19" y="36"/>
                    <a:pt x="1" y="0"/>
                  </a:cubicBezTo>
                  <a:cubicBezTo>
                    <a:pt x="0" y="0"/>
                    <a:pt x="2" y="0"/>
                    <a:pt x="2" y="0"/>
                  </a:cubicBez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25"/>
            <p:cNvSpPr>
              <a:spLocks/>
            </p:cNvSpPr>
            <p:nvPr userDrawn="1"/>
          </p:nvSpPr>
          <p:spPr bwMode="auto">
            <a:xfrm>
              <a:off x="3304" y="1918"/>
              <a:ext cx="297" cy="474"/>
            </a:xfrm>
            <a:custGeom>
              <a:avLst/>
              <a:gdLst>
                <a:gd name="T0" fmla="*/ 1 w 126"/>
                <a:gd name="T1" fmla="*/ 1 h 201"/>
                <a:gd name="T2" fmla="*/ 122 w 126"/>
                <a:gd name="T3" fmla="*/ 1 h 201"/>
                <a:gd name="T4" fmla="*/ 122 w 126"/>
                <a:gd name="T5" fmla="*/ 29 h 201"/>
                <a:gd name="T6" fmla="*/ 42 w 126"/>
                <a:gd name="T7" fmla="*/ 30 h 201"/>
                <a:gd name="T8" fmla="*/ 41 w 126"/>
                <a:gd name="T9" fmla="*/ 83 h 201"/>
                <a:gd name="T10" fmla="*/ 115 w 126"/>
                <a:gd name="T11" fmla="*/ 83 h 201"/>
                <a:gd name="T12" fmla="*/ 115 w 126"/>
                <a:gd name="T13" fmla="*/ 112 h 201"/>
                <a:gd name="T14" fmla="*/ 42 w 126"/>
                <a:gd name="T15" fmla="*/ 112 h 201"/>
                <a:gd name="T16" fmla="*/ 41 w 126"/>
                <a:gd name="T17" fmla="*/ 173 h 201"/>
                <a:gd name="T18" fmla="*/ 125 w 126"/>
                <a:gd name="T19" fmla="*/ 173 h 201"/>
                <a:gd name="T20" fmla="*/ 125 w 126"/>
                <a:gd name="T21" fmla="*/ 201 h 201"/>
                <a:gd name="T22" fmla="*/ 1 w 126"/>
                <a:gd name="T23" fmla="*/ 201 h 201"/>
                <a:gd name="T24" fmla="*/ 1 w 126"/>
                <a:gd name="T25" fmla="*/ 2 h 201"/>
                <a:gd name="T26" fmla="*/ 1 w 126"/>
                <a:gd name="T27" fmla="*/ 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6" h="201">
                  <a:moveTo>
                    <a:pt x="1" y="1"/>
                  </a:moveTo>
                  <a:cubicBezTo>
                    <a:pt x="41" y="1"/>
                    <a:pt x="82" y="0"/>
                    <a:pt x="122" y="1"/>
                  </a:cubicBezTo>
                  <a:cubicBezTo>
                    <a:pt x="122" y="29"/>
                    <a:pt x="122" y="29"/>
                    <a:pt x="122" y="29"/>
                  </a:cubicBezTo>
                  <a:cubicBezTo>
                    <a:pt x="96" y="30"/>
                    <a:pt x="69" y="29"/>
                    <a:pt x="42" y="30"/>
                  </a:cubicBezTo>
                  <a:cubicBezTo>
                    <a:pt x="41" y="46"/>
                    <a:pt x="43" y="66"/>
                    <a:pt x="41" y="83"/>
                  </a:cubicBezTo>
                  <a:cubicBezTo>
                    <a:pt x="65" y="84"/>
                    <a:pt x="90" y="83"/>
                    <a:pt x="115" y="83"/>
                  </a:cubicBezTo>
                  <a:cubicBezTo>
                    <a:pt x="115" y="112"/>
                    <a:pt x="115" y="112"/>
                    <a:pt x="115" y="112"/>
                  </a:cubicBezTo>
                  <a:cubicBezTo>
                    <a:pt x="42" y="112"/>
                    <a:pt x="42" y="112"/>
                    <a:pt x="42" y="112"/>
                  </a:cubicBezTo>
                  <a:cubicBezTo>
                    <a:pt x="41" y="131"/>
                    <a:pt x="43" y="154"/>
                    <a:pt x="41" y="173"/>
                  </a:cubicBezTo>
                  <a:cubicBezTo>
                    <a:pt x="125" y="173"/>
                    <a:pt x="125" y="173"/>
                    <a:pt x="125" y="173"/>
                  </a:cubicBezTo>
                  <a:cubicBezTo>
                    <a:pt x="126" y="181"/>
                    <a:pt x="125" y="192"/>
                    <a:pt x="125" y="201"/>
                  </a:cubicBezTo>
                  <a:cubicBezTo>
                    <a:pt x="1" y="201"/>
                    <a:pt x="1" y="201"/>
                    <a:pt x="1" y="20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0" y="1"/>
                    <a:pt x="1" y="1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26"/>
            <p:cNvSpPr>
              <a:spLocks noEditPoints="1"/>
            </p:cNvSpPr>
            <p:nvPr userDrawn="1"/>
          </p:nvSpPr>
          <p:spPr bwMode="auto">
            <a:xfrm>
              <a:off x="3606" y="2322"/>
              <a:ext cx="83" cy="82"/>
            </a:xfrm>
            <a:custGeom>
              <a:avLst/>
              <a:gdLst>
                <a:gd name="T0" fmla="*/ 14 w 35"/>
                <a:gd name="T1" fmla="*/ 2 h 35"/>
                <a:gd name="T2" fmla="*/ 32 w 35"/>
                <a:gd name="T3" fmla="*/ 16 h 35"/>
                <a:gd name="T4" fmla="*/ 4 w 35"/>
                <a:gd name="T5" fmla="*/ 22 h 35"/>
                <a:gd name="T6" fmla="*/ 14 w 35"/>
                <a:gd name="T7" fmla="*/ 2 h 35"/>
                <a:gd name="T8" fmla="*/ 6 w 35"/>
                <a:gd name="T9" fmla="*/ 20 h 35"/>
                <a:gd name="T10" fmla="*/ 28 w 35"/>
                <a:gd name="T11" fmla="*/ 10 h 35"/>
                <a:gd name="T12" fmla="*/ 15 w 35"/>
                <a:gd name="T13" fmla="*/ 4 h 35"/>
                <a:gd name="T14" fmla="*/ 6 w 35"/>
                <a:gd name="T15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35">
                  <a:moveTo>
                    <a:pt x="14" y="2"/>
                  </a:moveTo>
                  <a:cubicBezTo>
                    <a:pt x="24" y="0"/>
                    <a:pt x="32" y="7"/>
                    <a:pt x="32" y="16"/>
                  </a:cubicBezTo>
                  <a:cubicBezTo>
                    <a:pt x="31" y="31"/>
                    <a:pt x="10" y="35"/>
                    <a:pt x="4" y="22"/>
                  </a:cubicBezTo>
                  <a:cubicBezTo>
                    <a:pt x="0" y="13"/>
                    <a:pt x="4" y="4"/>
                    <a:pt x="14" y="2"/>
                  </a:cubicBezTo>
                  <a:moveTo>
                    <a:pt x="6" y="20"/>
                  </a:moveTo>
                  <a:cubicBezTo>
                    <a:pt x="11" y="34"/>
                    <a:pt x="35" y="26"/>
                    <a:pt x="28" y="10"/>
                  </a:cubicBezTo>
                  <a:cubicBezTo>
                    <a:pt x="26" y="6"/>
                    <a:pt x="21" y="3"/>
                    <a:pt x="15" y="4"/>
                  </a:cubicBezTo>
                  <a:cubicBezTo>
                    <a:pt x="8" y="6"/>
                    <a:pt x="4" y="13"/>
                    <a:pt x="6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27"/>
            <p:cNvSpPr>
              <a:spLocks noEditPoints="1"/>
            </p:cNvSpPr>
            <p:nvPr userDrawn="1"/>
          </p:nvSpPr>
          <p:spPr bwMode="auto">
            <a:xfrm>
              <a:off x="3632" y="2338"/>
              <a:ext cx="33" cy="45"/>
            </a:xfrm>
            <a:custGeom>
              <a:avLst/>
              <a:gdLst>
                <a:gd name="T0" fmla="*/ 1 w 14"/>
                <a:gd name="T1" fmla="*/ 0 h 19"/>
                <a:gd name="T2" fmla="*/ 12 w 14"/>
                <a:gd name="T3" fmla="*/ 2 h 19"/>
                <a:gd name="T4" fmla="*/ 9 w 14"/>
                <a:gd name="T5" fmla="*/ 10 h 19"/>
                <a:gd name="T6" fmla="*/ 13 w 14"/>
                <a:gd name="T7" fmla="*/ 16 h 19"/>
                <a:gd name="T8" fmla="*/ 4 w 14"/>
                <a:gd name="T9" fmla="*/ 10 h 19"/>
                <a:gd name="T10" fmla="*/ 3 w 14"/>
                <a:gd name="T11" fmla="*/ 17 h 19"/>
                <a:gd name="T12" fmla="*/ 0 w 14"/>
                <a:gd name="T13" fmla="*/ 17 h 19"/>
                <a:gd name="T14" fmla="*/ 1 w 14"/>
                <a:gd name="T15" fmla="*/ 0 h 19"/>
                <a:gd name="T16" fmla="*/ 3 w 14"/>
                <a:gd name="T17" fmla="*/ 8 h 19"/>
                <a:gd name="T18" fmla="*/ 10 w 14"/>
                <a:gd name="T19" fmla="*/ 4 h 19"/>
                <a:gd name="T20" fmla="*/ 3 w 14"/>
                <a:gd name="T21" fmla="*/ 2 h 19"/>
                <a:gd name="T22" fmla="*/ 3 w 14"/>
                <a:gd name="T2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9">
                  <a:moveTo>
                    <a:pt x="1" y="0"/>
                  </a:moveTo>
                  <a:cubicBezTo>
                    <a:pt x="5" y="0"/>
                    <a:pt x="9" y="0"/>
                    <a:pt x="12" y="2"/>
                  </a:cubicBezTo>
                  <a:cubicBezTo>
                    <a:pt x="14" y="5"/>
                    <a:pt x="13" y="10"/>
                    <a:pt x="9" y="10"/>
                  </a:cubicBezTo>
                  <a:cubicBezTo>
                    <a:pt x="10" y="12"/>
                    <a:pt x="12" y="14"/>
                    <a:pt x="13" y="16"/>
                  </a:cubicBezTo>
                  <a:cubicBezTo>
                    <a:pt x="7" y="19"/>
                    <a:pt x="9" y="9"/>
                    <a:pt x="4" y="10"/>
                  </a:cubicBezTo>
                  <a:cubicBezTo>
                    <a:pt x="3" y="11"/>
                    <a:pt x="4" y="15"/>
                    <a:pt x="3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" y="12"/>
                    <a:pt x="0" y="4"/>
                    <a:pt x="1" y="0"/>
                  </a:cubicBezTo>
                  <a:moveTo>
                    <a:pt x="3" y="8"/>
                  </a:moveTo>
                  <a:cubicBezTo>
                    <a:pt x="7" y="8"/>
                    <a:pt x="11" y="8"/>
                    <a:pt x="10" y="4"/>
                  </a:cubicBezTo>
                  <a:cubicBezTo>
                    <a:pt x="9" y="2"/>
                    <a:pt x="6" y="2"/>
                    <a:pt x="3" y="2"/>
                  </a:cubicBezTo>
                  <a:lnTo>
                    <a:pt x="3" y="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28"/>
            <p:cNvSpPr>
              <a:spLocks/>
            </p:cNvSpPr>
            <p:nvPr userDrawn="1"/>
          </p:nvSpPr>
          <p:spPr bwMode="auto">
            <a:xfrm>
              <a:off x="2099" y="847"/>
              <a:ext cx="303" cy="428"/>
            </a:xfrm>
            <a:custGeom>
              <a:avLst/>
              <a:gdLst>
                <a:gd name="T0" fmla="*/ 0 w 303"/>
                <a:gd name="T1" fmla="*/ 428 h 428"/>
                <a:gd name="T2" fmla="*/ 0 w 303"/>
                <a:gd name="T3" fmla="*/ 0 h 428"/>
                <a:gd name="T4" fmla="*/ 88 w 303"/>
                <a:gd name="T5" fmla="*/ 0 h 428"/>
                <a:gd name="T6" fmla="*/ 88 w 303"/>
                <a:gd name="T7" fmla="*/ 355 h 428"/>
                <a:gd name="T8" fmla="*/ 303 w 303"/>
                <a:gd name="T9" fmla="*/ 355 h 428"/>
                <a:gd name="T10" fmla="*/ 303 w 303"/>
                <a:gd name="T11" fmla="*/ 428 h 428"/>
                <a:gd name="T12" fmla="*/ 0 w 303"/>
                <a:gd name="T13" fmla="*/ 428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3" h="428">
                  <a:moveTo>
                    <a:pt x="0" y="428"/>
                  </a:moveTo>
                  <a:lnTo>
                    <a:pt x="0" y="0"/>
                  </a:lnTo>
                  <a:lnTo>
                    <a:pt x="88" y="0"/>
                  </a:lnTo>
                  <a:lnTo>
                    <a:pt x="88" y="355"/>
                  </a:lnTo>
                  <a:lnTo>
                    <a:pt x="303" y="355"/>
                  </a:lnTo>
                  <a:lnTo>
                    <a:pt x="303" y="428"/>
                  </a:lnTo>
                  <a:lnTo>
                    <a:pt x="0" y="42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29"/>
            <p:cNvSpPr>
              <a:spLocks/>
            </p:cNvSpPr>
            <p:nvPr userDrawn="1"/>
          </p:nvSpPr>
          <p:spPr bwMode="auto">
            <a:xfrm>
              <a:off x="2444" y="843"/>
              <a:ext cx="399" cy="432"/>
            </a:xfrm>
            <a:custGeom>
              <a:avLst/>
              <a:gdLst>
                <a:gd name="T0" fmla="*/ 0 w 399"/>
                <a:gd name="T1" fmla="*/ 432 h 432"/>
                <a:gd name="T2" fmla="*/ 147 w 399"/>
                <a:gd name="T3" fmla="*/ 205 h 432"/>
                <a:gd name="T4" fmla="*/ 14 w 399"/>
                <a:gd name="T5" fmla="*/ 0 h 432"/>
                <a:gd name="T6" fmla="*/ 116 w 399"/>
                <a:gd name="T7" fmla="*/ 0 h 432"/>
                <a:gd name="T8" fmla="*/ 201 w 399"/>
                <a:gd name="T9" fmla="*/ 139 h 432"/>
                <a:gd name="T10" fmla="*/ 286 w 399"/>
                <a:gd name="T11" fmla="*/ 0 h 432"/>
                <a:gd name="T12" fmla="*/ 388 w 399"/>
                <a:gd name="T13" fmla="*/ 0 h 432"/>
                <a:gd name="T14" fmla="*/ 253 w 399"/>
                <a:gd name="T15" fmla="*/ 210 h 432"/>
                <a:gd name="T16" fmla="*/ 399 w 399"/>
                <a:gd name="T17" fmla="*/ 432 h 432"/>
                <a:gd name="T18" fmla="*/ 295 w 399"/>
                <a:gd name="T19" fmla="*/ 432 h 432"/>
                <a:gd name="T20" fmla="*/ 201 w 399"/>
                <a:gd name="T21" fmla="*/ 283 h 432"/>
                <a:gd name="T22" fmla="*/ 104 w 399"/>
                <a:gd name="T23" fmla="*/ 432 h 432"/>
                <a:gd name="T24" fmla="*/ 0 w 399"/>
                <a:gd name="T25" fmla="*/ 43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9" h="432">
                  <a:moveTo>
                    <a:pt x="0" y="432"/>
                  </a:moveTo>
                  <a:lnTo>
                    <a:pt x="147" y="205"/>
                  </a:lnTo>
                  <a:lnTo>
                    <a:pt x="14" y="0"/>
                  </a:lnTo>
                  <a:lnTo>
                    <a:pt x="116" y="0"/>
                  </a:lnTo>
                  <a:lnTo>
                    <a:pt x="201" y="139"/>
                  </a:lnTo>
                  <a:lnTo>
                    <a:pt x="286" y="0"/>
                  </a:lnTo>
                  <a:lnTo>
                    <a:pt x="388" y="0"/>
                  </a:lnTo>
                  <a:lnTo>
                    <a:pt x="253" y="210"/>
                  </a:lnTo>
                  <a:lnTo>
                    <a:pt x="399" y="432"/>
                  </a:lnTo>
                  <a:lnTo>
                    <a:pt x="295" y="432"/>
                  </a:lnTo>
                  <a:lnTo>
                    <a:pt x="201" y="283"/>
                  </a:lnTo>
                  <a:lnTo>
                    <a:pt x="104" y="432"/>
                  </a:lnTo>
                  <a:lnTo>
                    <a:pt x="0" y="43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0"/>
            <p:cNvSpPr>
              <a:spLocks/>
            </p:cNvSpPr>
            <p:nvPr userDrawn="1"/>
          </p:nvSpPr>
          <p:spPr bwMode="auto">
            <a:xfrm>
              <a:off x="2914" y="843"/>
              <a:ext cx="295" cy="432"/>
            </a:xfrm>
            <a:custGeom>
              <a:avLst/>
              <a:gdLst>
                <a:gd name="T0" fmla="*/ 0 w 295"/>
                <a:gd name="T1" fmla="*/ 432 h 432"/>
                <a:gd name="T2" fmla="*/ 0 w 295"/>
                <a:gd name="T3" fmla="*/ 0 h 432"/>
                <a:gd name="T4" fmla="*/ 295 w 295"/>
                <a:gd name="T5" fmla="*/ 0 h 432"/>
                <a:gd name="T6" fmla="*/ 295 w 295"/>
                <a:gd name="T7" fmla="*/ 73 h 432"/>
                <a:gd name="T8" fmla="*/ 88 w 295"/>
                <a:gd name="T9" fmla="*/ 73 h 432"/>
                <a:gd name="T10" fmla="*/ 88 w 295"/>
                <a:gd name="T11" fmla="*/ 174 h 432"/>
                <a:gd name="T12" fmla="*/ 267 w 295"/>
                <a:gd name="T13" fmla="*/ 174 h 432"/>
                <a:gd name="T14" fmla="*/ 267 w 295"/>
                <a:gd name="T15" fmla="*/ 248 h 432"/>
                <a:gd name="T16" fmla="*/ 88 w 295"/>
                <a:gd name="T17" fmla="*/ 248 h 432"/>
                <a:gd name="T18" fmla="*/ 88 w 295"/>
                <a:gd name="T19" fmla="*/ 432 h 432"/>
                <a:gd name="T20" fmla="*/ 0 w 295"/>
                <a:gd name="T21" fmla="*/ 43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5" h="432">
                  <a:moveTo>
                    <a:pt x="0" y="432"/>
                  </a:moveTo>
                  <a:lnTo>
                    <a:pt x="0" y="0"/>
                  </a:lnTo>
                  <a:lnTo>
                    <a:pt x="295" y="0"/>
                  </a:lnTo>
                  <a:lnTo>
                    <a:pt x="295" y="73"/>
                  </a:lnTo>
                  <a:lnTo>
                    <a:pt x="88" y="73"/>
                  </a:lnTo>
                  <a:lnTo>
                    <a:pt x="88" y="174"/>
                  </a:lnTo>
                  <a:lnTo>
                    <a:pt x="267" y="174"/>
                  </a:lnTo>
                  <a:lnTo>
                    <a:pt x="267" y="248"/>
                  </a:lnTo>
                  <a:lnTo>
                    <a:pt x="88" y="248"/>
                  </a:lnTo>
                  <a:lnTo>
                    <a:pt x="88" y="432"/>
                  </a:lnTo>
                  <a:lnTo>
                    <a:pt x="0" y="43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1"/>
            <p:cNvSpPr>
              <a:spLocks/>
            </p:cNvSpPr>
            <p:nvPr userDrawn="1"/>
          </p:nvSpPr>
          <p:spPr bwMode="auto">
            <a:xfrm>
              <a:off x="3273" y="843"/>
              <a:ext cx="343" cy="432"/>
            </a:xfrm>
            <a:custGeom>
              <a:avLst/>
              <a:gdLst>
                <a:gd name="T0" fmla="*/ 128 w 343"/>
                <a:gd name="T1" fmla="*/ 432 h 432"/>
                <a:gd name="T2" fmla="*/ 128 w 343"/>
                <a:gd name="T3" fmla="*/ 73 h 432"/>
                <a:gd name="T4" fmla="*/ 0 w 343"/>
                <a:gd name="T5" fmla="*/ 73 h 432"/>
                <a:gd name="T6" fmla="*/ 0 w 343"/>
                <a:gd name="T7" fmla="*/ 0 h 432"/>
                <a:gd name="T8" fmla="*/ 343 w 343"/>
                <a:gd name="T9" fmla="*/ 0 h 432"/>
                <a:gd name="T10" fmla="*/ 343 w 343"/>
                <a:gd name="T11" fmla="*/ 73 h 432"/>
                <a:gd name="T12" fmla="*/ 215 w 343"/>
                <a:gd name="T13" fmla="*/ 73 h 432"/>
                <a:gd name="T14" fmla="*/ 215 w 343"/>
                <a:gd name="T15" fmla="*/ 432 h 432"/>
                <a:gd name="T16" fmla="*/ 128 w 343"/>
                <a:gd name="T17" fmla="*/ 43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432">
                  <a:moveTo>
                    <a:pt x="128" y="432"/>
                  </a:moveTo>
                  <a:lnTo>
                    <a:pt x="128" y="73"/>
                  </a:lnTo>
                  <a:lnTo>
                    <a:pt x="0" y="73"/>
                  </a:lnTo>
                  <a:lnTo>
                    <a:pt x="0" y="0"/>
                  </a:lnTo>
                  <a:lnTo>
                    <a:pt x="343" y="0"/>
                  </a:lnTo>
                  <a:lnTo>
                    <a:pt x="343" y="73"/>
                  </a:lnTo>
                  <a:lnTo>
                    <a:pt x="215" y="73"/>
                  </a:lnTo>
                  <a:lnTo>
                    <a:pt x="215" y="432"/>
                  </a:lnTo>
                  <a:lnTo>
                    <a:pt x="128" y="43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0" name="Group 17"/>
          <p:cNvGrpSpPr>
            <a:grpSpLocks noChangeAspect="1"/>
          </p:cNvGrpSpPr>
          <p:nvPr userDrawn="1"/>
        </p:nvGrpSpPr>
        <p:grpSpPr bwMode="auto">
          <a:xfrm>
            <a:off x="540741" y="4337362"/>
            <a:ext cx="984248" cy="509810"/>
            <a:chOff x="5172" y="892"/>
            <a:chExt cx="1892" cy="980"/>
          </a:xfrm>
        </p:grpSpPr>
        <p:sp>
          <p:nvSpPr>
            <p:cNvPr id="131" name="AutoShape 16"/>
            <p:cNvSpPr>
              <a:spLocks noChangeAspect="1" noChangeArrowheads="1" noTextEdit="1"/>
            </p:cNvSpPr>
            <p:nvPr userDrawn="1"/>
          </p:nvSpPr>
          <p:spPr bwMode="auto">
            <a:xfrm>
              <a:off x="5172" y="892"/>
              <a:ext cx="1892" cy="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8"/>
            <p:cNvSpPr>
              <a:spLocks noEditPoints="1"/>
            </p:cNvSpPr>
            <p:nvPr userDrawn="1"/>
          </p:nvSpPr>
          <p:spPr bwMode="auto">
            <a:xfrm>
              <a:off x="5936" y="1250"/>
              <a:ext cx="345" cy="268"/>
            </a:xfrm>
            <a:custGeom>
              <a:avLst/>
              <a:gdLst>
                <a:gd name="T0" fmla="*/ 953 w 1033"/>
                <a:gd name="T1" fmla="*/ 717 h 803"/>
                <a:gd name="T2" fmla="*/ 965 w 1033"/>
                <a:gd name="T3" fmla="*/ 74 h 803"/>
                <a:gd name="T4" fmla="*/ 993 w 1033"/>
                <a:gd name="T5" fmla="*/ 0 h 803"/>
                <a:gd name="T6" fmla="*/ 626 w 1033"/>
                <a:gd name="T7" fmla="*/ 0 h 803"/>
                <a:gd name="T8" fmla="*/ 662 w 1033"/>
                <a:gd name="T9" fmla="*/ 77 h 803"/>
                <a:gd name="T10" fmla="*/ 521 w 1033"/>
                <a:gd name="T11" fmla="*/ 283 h 803"/>
                <a:gd name="T12" fmla="*/ 428 w 1033"/>
                <a:gd name="T13" fmla="*/ 69 h 803"/>
                <a:gd name="T14" fmla="*/ 428 w 1033"/>
                <a:gd name="T15" fmla="*/ 69 h 803"/>
                <a:gd name="T16" fmla="*/ 32 w 1033"/>
                <a:gd name="T17" fmla="*/ 0 h 803"/>
                <a:gd name="T18" fmla="*/ 32 w 1033"/>
                <a:gd name="T19" fmla="*/ 0 h 803"/>
                <a:gd name="T20" fmla="*/ 81 w 1033"/>
                <a:gd name="T21" fmla="*/ 79 h 803"/>
                <a:gd name="T22" fmla="*/ 98 w 1033"/>
                <a:gd name="T23" fmla="*/ 713 h 803"/>
                <a:gd name="T24" fmla="*/ 428 w 1033"/>
                <a:gd name="T25" fmla="*/ 390 h 803"/>
                <a:gd name="T26" fmla="*/ 98 w 1033"/>
                <a:gd name="T27" fmla="*/ 713 h 803"/>
                <a:gd name="T28" fmla="*/ 9 w 1033"/>
                <a:gd name="T29" fmla="*/ 733 h 803"/>
                <a:gd name="T30" fmla="*/ 0 w 1033"/>
                <a:gd name="T31" fmla="*/ 803 h 803"/>
                <a:gd name="T32" fmla="*/ 385 w 1033"/>
                <a:gd name="T33" fmla="*/ 803 h 803"/>
                <a:gd name="T34" fmla="*/ 385 w 1033"/>
                <a:gd name="T35" fmla="*/ 734 h 803"/>
                <a:gd name="T36" fmla="*/ 328 w 1033"/>
                <a:gd name="T37" fmla="*/ 722 h 803"/>
                <a:gd name="T38" fmla="*/ 280 w 1033"/>
                <a:gd name="T39" fmla="*/ 712 h 803"/>
                <a:gd name="T40" fmla="*/ 538 w 1033"/>
                <a:gd name="T41" fmla="*/ 505 h 803"/>
                <a:gd name="T42" fmla="*/ 525 w 1033"/>
                <a:gd name="T43" fmla="*/ 520 h 803"/>
                <a:gd name="T44" fmla="*/ 633 w 1033"/>
                <a:gd name="T45" fmla="*/ 734 h 803"/>
                <a:gd name="T46" fmla="*/ 1033 w 1033"/>
                <a:gd name="T47" fmla="*/ 803 h 803"/>
                <a:gd name="T48" fmla="*/ 1033 w 1033"/>
                <a:gd name="T49" fmla="*/ 734 h 803"/>
                <a:gd name="T50" fmla="*/ 136 w 1033"/>
                <a:gd name="T51" fmla="*/ 91 h 803"/>
                <a:gd name="T52" fmla="*/ 211 w 1033"/>
                <a:gd name="T53" fmla="*/ 169 h 803"/>
                <a:gd name="T54" fmla="*/ 325 w 1033"/>
                <a:gd name="T55" fmla="*/ 91 h 803"/>
                <a:gd name="T56" fmla="*/ 398 w 1033"/>
                <a:gd name="T57" fmla="*/ 169 h 803"/>
                <a:gd name="T58" fmla="*/ 631 w 1033"/>
                <a:gd name="T59" fmla="*/ 409 h 803"/>
                <a:gd name="T60" fmla="*/ 639 w 1033"/>
                <a:gd name="T61" fmla="*/ 402 h 803"/>
                <a:gd name="T62" fmla="*/ 631 w 1033"/>
                <a:gd name="T63" fmla="*/ 409 h 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3" h="803">
                  <a:moveTo>
                    <a:pt x="1019" y="732"/>
                  </a:moveTo>
                  <a:lnTo>
                    <a:pt x="953" y="717"/>
                  </a:lnTo>
                  <a:lnTo>
                    <a:pt x="639" y="405"/>
                  </a:lnTo>
                  <a:lnTo>
                    <a:pt x="965" y="74"/>
                  </a:lnTo>
                  <a:lnTo>
                    <a:pt x="993" y="69"/>
                  </a:lnTo>
                  <a:lnTo>
                    <a:pt x="993" y="0"/>
                  </a:lnTo>
                  <a:lnTo>
                    <a:pt x="993" y="0"/>
                  </a:lnTo>
                  <a:lnTo>
                    <a:pt x="626" y="0"/>
                  </a:lnTo>
                  <a:lnTo>
                    <a:pt x="626" y="69"/>
                  </a:lnTo>
                  <a:lnTo>
                    <a:pt x="662" y="77"/>
                  </a:lnTo>
                  <a:lnTo>
                    <a:pt x="713" y="88"/>
                  </a:lnTo>
                  <a:lnTo>
                    <a:pt x="521" y="283"/>
                  </a:lnTo>
                  <a:lnTo>
                    <a:pt x="330" y="90"/>
                  </a:lnTo>
                  <a:lnTo>
                    <a:pt x="428" y="69"/>
                  </a:lnTo>
                  <a:lnTo>
                    <a:pt x="428" y="69"/>
                  </a:lnTo>
                  <a:lnTo>
                    <a:pt x="428" y="69"/>
                  </a:lnTo>
                  <a:lnTo>
                    <a:pt x="4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69"/>
                  </a:lnTo>
                  <a:lnTo>
                    <a:pt x="81" y="79"/>
                  </a:lnTo>
                  <a:lnTo>
                    <a:pt x="406" y="397"/>
                  </a:lnTo>
                  <a:lnTo>
                    <a:pt x="98" y="713"/>
                  </a:lnTo>
                  <a:lnTo>
                    <a:pt x="106" y="712"/>
                  </a:lnTo>
                  <a:lnTo>
                    <a:pt x="428" y="390"/>
                  </a:lnTo>
                  <a:lnTo>
                    <a:pt x="106" y="712"/>
                  </a:lnTo>
                  <a:lnTo>
                    <a:pt x="98" y="713"/>
                  </a:lnTo>
                  <a:lnTo>
                    <a:pt x="98" y="713"/>
                  </a:lnTo>
                  <a:lnTo>
                    <a:pt x="9" y="733"/>
                  </a:lnTo>
                  <a:lnTo>
                    <a:pt x="0" y="734"/>
                  </a:lnTo>
                  <a:lnTo>
                    <a:pt x="0" y="803"/>
                  </a:lnTo>
                  <a:lnTo>
                    <a:pt x="0" y="803"/>
                  </a:lnTo>
                  <a:lnTo>
                    <a:pt x="385" y="803"/>
                  </a:lnTo>
                  <a:lnTo>
                    <a:pt x="385" y="803"/>
                  </a:lnTo>
                  <a:lnTo>
                    <a:pt x="385" y="734"/>
                  </a:lnTo>
                  <a:lnTo>
                    <a:pt x="355" y="729"/>
                  </a:lnTo>
                  <a:lnTo>
                    <a:pt x="328" y="722"/>
                  </a:lnTo>
                  <a:lnTo>
                    <a:pt x="280" y="712"/>
                  </a:lnTo>
                  <a:lnTo>
                    <a:pt x="280" y="712"/>
                  </a:lnTo>
                  <a:lnTo>
                    <a:pt x="328" y="722"/>
                  </a:lnTo>
                  <a:lnTo>
                    <a:pt x="538" y="505"/>
                  </a:lnTo>
                  <a:lnTo>
                    <a:pt x="539" y="506"/>
                  </a:lnTo>
                  <a:lnTo>
                    <a:pt x="525" y="520"/>
                  </a:lnTo>
                  <a:lnTo>
                    <a:pt x="717" y="716"/>
                  </a:lnTo>
                  <a:lnTo>
                    <a:pt x="633" y="734"/>
                  </a:lnTo>
                  <a:lnTo>
                    <a:pt x="633" y="803"/>
                  </a:lnTo>
                  <a:lnTo>
                    <a:pt x="1033" y="803"/>
                  </a:lnTo>
                  <a:lnTo>
                    <a:pt x="1033" y="803"/>
                  </a:lnTo>
                  <a:lnTo>
                    <a:pt x="1033" y="734"/>
                  </a:lnTo>
                  <a:lnTo>
                    <a:pt x="1019" y="732"/>
                  </a:lnTo>
                  <a:close/>
                  <a:moveTo>
                    <a:pt x="136" y="91"/>
                  </a:moveTo>
                  <a:lnTo>
                    <a:pt x="136" y="91"/>
                  </a:lnTo>
                  <a:lnTo>
                    <a:pt x="211" y="169"/>
                  </a:lnTo>
                  <a:lnTo>
                    <a:pt x="136" y="91"/>
                  </a:lnTo>
                  <a:close/>
                  <a:moveTo>
                    <a:pt x="325" y="91"/>
                  </a:moveTo>
                  <a:lnTo>
                    <a:pt x="325" y="91"/>
                  </a:lnTo>
                  <a:lnTo>
                    <a:pt x="398" y="169"/>
                  </a:lnTo>
                  <a:lnTo>
                    <a:pt x="325" y="91"/>
                  </a:lnTo>
                  <a:close/>
                  <a:moveTo>
                    <a:pt x="631" y="409"/>
                  </a:moveTo>
                  <a:lnTo>
                    <a:pt x="639" y="401"/>
                  </a:lnTo>
                  <a:lnTo>
                    <a:pt x="639" y="402"/>
                  </a:lnTo>
                  <a:lnTo>
                    <a:pt x="631" y="410"/>
                  </a:lnTo>
                  <a:lnTo>
                    <a:pt x="631" y="40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9"/>
            <p:cNvSpPr>
              <a:spLocks/>
            </p:cNvSpPr>
            <p:nvPr userDrawn="1"/>
          </p:nvSpPr>
          <p:spPr bwMode="auto">
            <a:xfrm>
              <a:off x="6839" y="1252"/>
              <a:ext cx="225" cy="262"/>
            </a:xfrm>
            <a:custGeom>
              <a:avLst/>
              <a:gdLst>
                <a:gd name="T0" fmla="*/ 519 w 676"/>
                <a:gd name="T1" fmla="*/ 786 h 786"/>
                <a:gd name="T2" fmla="*/ 157 w 676"/>
                <a:gd name="T3" fmla="*/ 786 h 786"/>
                <a:gd name="T4" fmla="*/ 157 w 676"/>
                <a:gd name="T5" fmla="*/ 711 h 786"/>
                <a:gd name="T6" fmla="*/ 252 w 676"/>
                <a:gd name="T7" fmla="*/ 688 h 786"/>
                <a:gd name="T8" fmla="*/ 252 w 676"/>
                <a:gd name="T9" fmla="*/ 92 h 786"/>
                <a:gd name="T10" fmla="*/ 169 w 676"/>
                <a:gd name="T11" fmla="*/ 92 h 786"/>
                <a:gd name="T12" fmla="*/ 127 w 676"/>
                <a:gd name="T13" fmla="*/ 188 h 786"/>
                <a:gd name="T14" fmla="*/ 0 w 676"/>
                <a:gd name="T15" fmla="*/ 188 h 786"/>
                <a:gd name="T16" fmla="*/ 0 w 676"/>
                <a:gd name="T17" fmla="*/ 0 h 786"/>
                <a:gd name="T18" fmla="*/ 676 w 676"/>
                <a:gd name="T19" fmla="*/ 0 h 786"/>
                <a:gd name="T20" fmla="*/ 676 w 676"/>
                <a:gd name="T21" fmla="*/ 188 h 786"/>
                <a:gd name="T22" fmla="*/ 549 w 676"/>
                <a:gd name="T23" fmla="*/ 188 h 786"/>
                <a:gd name="T24" fmla="*/ 509 w 676"/>
                <a:gd name="T25" fmla="*/ 92 h 786"/>
                <a:gd name="T26" fmla="*/ 424 w 676"/>
                <a:gd name="T27" fmla="*/ 92 h 786"/>
                <a:gd name="T28" fmla="*/ 424 w 676"/>
                <a:gd name="T29" fmla="*/ 688 h 786"/>
                <a:gd name="T30" fmla="*/ 519 w 676"/>
                <a:gd name="T31" fmla="*/ 711 h 786"/>
                <a:gd name="T32" fmla="*/ 519 w 676"/>
                <a:gd name="T33" fmla="*/ 786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76" h="786">
                  <a:moveTo>
                    <a:pt x="519" y="786"/>
                  </a:moveTo>
                  <a:lnTo>
                    <a:pt x="157" y="786"/>
                  </a:lnTo>
                  <a:lnTo>
                    <a:pt x="157" y="711"/>
                  </a:lnTo>
                  <a:lnTo>
                    <a:pt x="252" y="688"/>
                  </a:lnTo>
                  <a:lnTo>
                    <a:pt x="252" y="92"/>
                  </a:lnTo>
                  <a:lnTo>
                    <a:pt x="169" y="92"/>
                  </a:lnTo>
                  <a:lnTo>
                    <a:pt x="127" y="188"/>
                  </a:lnTo>
                  <a:lnTo>
                    <a:pt x="0" y="188"/>
                  </a:lnTo>
                  <a:lnTo>
                    <a:pt x="0" y="0"/>
                  </a:lnTo>
                  <a:lnTo>
                    <a:pt x="676" y="0"/>
                  </a:lnTo>
                  <a:lnTo>
                    <a:pt x="676" y="188"/>
                  </a:lnTo>
                  <a:lnTo>
                    <a:pt x="549" y="188"/>
                  </a:lnTo>
                  <a:lnTo>
                    <a:pt x="509" y="92"/>
                  </a:lnTo>
                  <a:lnTo>
                    <a:pt x="424" y="92"/>
                  </a:lnTo>
                  <a:lnTo>
                    <a:pt x="424" y="688"/>
                  </a:lnTo>
                  <a:lnTo>
                    <a:pt x="519" y="711"/>
                  </a:lnTo>
                  <a:lnTo>
                    <a:pt x="519" y="78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20"/>
            <p:cNvSpPr>
              <a:spLocks/>
            </p:cNvSpPr>
            <p:nvPr userDrawn="1"/>
          </p:nvSpPr>
          <p:spPr bwMode="auto">
            <a:xfrm>
              <a:off x="6839" y="1252"/>
              <a:ext cx="225" cy="262"/>
            </a:xfrm>
            <a:custGeom>
              <a:avLst/>
              <a:gdLst>
                <a:gd name="T0" fmla="*/ 519 w 676"/>
                <a:gd name="T1" fmla="*/ 786 h 786"/>
                <a:gd name="T2" fmla="*/ 157 w 676"/>
                <a:gd name="T3" fmla="*/ 786 h 786"/>
                <a:gd name="T4" fmla="*/ 157 w 676"/>
                <a:gd name="T5" fmla="*/ 711 h 786"/>
                <a:gd name="T6" fmla="*/ 252 w 676"/>
                <a:gd name="T7" fmla="*/ 688 h 786"/>
                <a:gd name="T8" fmla="*/ 252 w 676"/>
                <a:gd name="T9" fmla="*/ 92 h 786"/>
                <a:gd name="T10" fmla="*/ 169 w 676"/>
                <a:gd name="T11" fmla="*/ 92 h 786"/>
                <a:gd name="T12" fmla="*/ 127 w 676"/>
                <a:gd name="T13" fmla="*/ 188 h 786"/>
                <a:gd name="T14" fmla="*/ 0 w 676"/>
                <a:gd name="T15" fmla="*/ 188 h 786"/>
                <a:gd name="T16" fmla="*/ 0 w 676"/>
                <a:gd name="T17" fmla="*/ 0 h 786"/>
                <a:gd name="T18" fmla="*/ 676 w 676"/>
                <a:gd name="T19" fmla="*/ 0 h 786"/>
                <a:gd name="T20" fmla="*/ 676 w 676"/>
                <a:gd name="T21" fmla="*/ 188 h 786"/>
                <a:gd name="T22" fmla="*/ 549 w 676"/>
                <a:gd name="T23" fmla="*/ 188 h 786"/>
                <a:gd name="T24" fmla="*/ 509 w 676"/>
                <a:gd name="T25" fmla="*/ 92 h 786"/>
                <a:gd name="T26" fmla="*/ 424 w 676"/>
                <a:gd name="T27" fmla="*/ 92 h 786"/>
                <a:gd name="T28" fmla="*/ 424 w 676"/>
                <a:gd name="T29" fmla="*/ 688 h 786"/>
                <a:gd name="T30" fmla="*/ 519 w 676"/>
                <a:gd name="T31" fmla="*/ 711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76" h="786">
                  <a:moveTo>
                    <a:pt x="519" y="786"/>
                  </a:moveTo>
                  <a:lnTo>
                    <a:pt x="157" y="786"/>
                  </a:lnTo>
                  <a:lnTo>
                    <a:pt x="157" y="711"/>
                  </a:lnTo>
                  <a:lnTo>
                    <a:pt x="252" y="688"/>
                  </a:lnTo>
                  <a:lnTo>
                    <a:pt x="252" y="92"/>
                  </a:lnTo>
                  <a:lnTo>
                    <a:pt x="169" y="92"/>
                  </a:lnTo>
                  <a:lnTo>
                    <a:pt x="127" y="188"/>
                  </a:lnTo>
                  <a:lnTo>
                    <a:pt x="0" y="188"/>
                  </a:lnTo>
                  <a:lnTo>
                    <a:pt x="0" y="0"/>
                  </a:lnTo>
                  <a:lnTo>
                    <a:pt x="676" y="0"/>
                  </a:lnTo>
                  <a:lnTo>
                    <a:pt x="676" y="188"/>
                  </a:lnTo>
                  <a:lnTo>
                    <a:pt x="549" y="188"/>
                  </a:lnTo>
                  <a:lnTo>
                    <a:pt x="509" y="92"/>
                  </a:lnTo>
                  <a:lnTo>
                    <a:pt x="424" y="92"/>
                  </a:lnTo>
                  <a:lnTo>
                    <a:pt x="424" y="688"/>
                  </a:lnTo>
                  <a:lnTo>
                    <a:pt x="519" y="711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21"/>
            <p:cNvSpPr>
              <a:spLocks/>
            </p:cNvSpPr>
            <p:nvPr userDrawn="1"/>
          </p:nvSpPr>
          <p:spPr bwMode="auto">
            <a:xfrm>
              <a:off x="6594" y="1252"/>
              <a:ext cx="195" cy="262"/>
            </a:xfrm>
            <a:custGeom>
              <a:avLst/>
              <a:gdLst>
                <a:gd name="T0" fmla="*/ 346 w 585"/>
                <a:gd name="T1" fmla="*/ 786 h 786"/>
                <a:gd name="T2" fmla="*/ 0 w 585"/>
                <a:gd name="T3" fmla="*/ 786 h 786"/>
                <a:gd name="T4" fmla="*/ 0 w 585"/>
                <a:gd name="T5" fmla="*/ 711 h 786"/>
                <a:gd name="T6" fmla="*/ 78 w 585"/>
                <a:gd name="T7" fmla="*/ 688 h 786"/>
                <a:gd name="T8" fmla="*/ 78 w 585"/>
                <a:gd name="T9" fmla="*/ 99 h 786"/>
                <a:gd name="T10" fmla="*/ 0 w 585"/>
                <a:gd name="T11" fmla="*/ 74 h 786"/>
                <a:gd name="T12" fmla="*/ 0 w 585"/>
                <a:gd name="T13" fmla="*/ 0 h 786"/>
                <a:gd name="T14" fmla="*/ 585 w 585"/>
                <a:gd name="T15" fmla="*/ 0 h 786"/>
                <a:gd name="T16" fmla="*/ 585 w 585"/>
                <a:gd name="T17" fmla="*/ 188 h 786"/>
                <a:gd name="T18" fmla="*/ 454 w 585"/>
                <a:gd name="T19" fmla="*/ 188 h 786"/>
                <a:gd name="T20" fmla="*/ 410 w 585"/>
                <a:gd name="T21" fmla="*/ 92 h 786"/>
                <a:gd name="T22" fmla="*/ 249 w 585"/>
                <a:gd name="T23" fmla="*/ 92 h 786"/>
                <a:gd name="T24" fmla="*/ 249 w 585"/>
                <a:gd name="T25" fmla="*/ 335 h 786"/>
                <a:gd name="T26" fmla="*/ 381 w 585"/>
                <a:gd name="T27" fmla="*/ 335 h 786"/>
                <a:gd name="T28" fmla="*/ 414 w 585"/>
                <a:gd name="T29" fmla="*/ 256 h 786"/>
                <a:gd name="T30" fmla="*/ 524 w 585"/>
                <a:gd name="T31" fmla="*/ 256 h 786"/>
                <a:gd name="T32" fmla="*/ 524 w 585"/>
                <a:gd name="T33" fmla="*/ 506 h 786"/>
                <a:gd name="T34" fmla="*/ 414 w 585"/>
                <a:gd name="T35" fmla="*/ 506 h 786"/>
                <a:gd name="T36" fmla="*/ 381 w 585"/>
                <a:gd name="T37" fmla="*/ 428 h 786"/>
                <a:gd name="T38" fmla="*/ 249 w 585"/>
                <a:gd name="T39" fmla="*/ 428 h 786"/>
                <a:gd name="T40" fmla="*/ 249 w 585"/>
                <a:gd name="T41" fmla="*/ 693 h 786"/>
                <a:gd name="T42" fmla="*/ 346 w 585"/>
                <a:gd name="T43" fmla="*/ 711 h 786"/>
                <a:gd name="T44" fmla="*/ 346 w 585"/>
                <a:gd name="T45" fmla="*/ 786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5" h="786">
                  <a:moveTo>
                    <a:pt x="346" y="786"/>
                  </a:moveTo>
                  <a:lnTo>
                    <a:pt x="0" y="786"/>
                  </a:lnTo>
                  <a:lnTo>
                    <a:pt x="0" y="711"/>
                  </a:lnTo>
                  <a:lnTo>
                    <a:pt x="78" y="688"/>
                  </a:lnTo>
                  <a:lnTo>
                    <a:pt x="78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585" y="0"/>
                  </a:lnTo>
                  <a:lnTo>
                    <a:pt x="585" y="188"/>
                  </a:lnTo>
                  <a:lnTo>
                    <a:pt x="454" y="188"/>
                  </a:lnTo>
                  <a:lnTo>
                    <a:pt x="410" y="92"/>
                  </a:lnTo>
                  <a:lnTo>
                    <a:pt x="249" y="92"/>
                  </a:lnTo>
                  <a:lnTo>
                    <a:pt x="249" y="335"/>
                  </a:lnTo>
                  <a:lnTo>
                    <a:pt x="381" y="335"/>
                  </a:lnTo>
                  <a:lnTo>
                    <a:pt x="414" y="256"/>
                  </a:lnTo>
                  <a:lnTo>
                    <a:pt x="524" y="256"/>
                  </a:lnTo>
                  <a:lnTo>
                    <a:pt x="524" y="506"/>
                  </a:lnTo>
                  <a:lnTo>
                    <a:pt x="414" y="506"/>
                  </a:lnTo>
                  <a:lnTo>
                    <a:pt x="381" y="428"/>
                  </a:lnTo>
                  <a:lnTo>
                    <a:pt x="249" y="428"/>
                  </a:lnTo>
                  <a:lnTo>
                    <a:pt x="249" y="693"/>
                  </a:lnTo>
                  <a:lnTo>
                    <a:pt x="346" y="711"/>
                  </a:lnTo>
                  <a:lnTo>
                    <a:pt x="346" y="78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22"/>
            <p:cNvSpPr>
              <a:spLocks/>
            </p:cNvSpPr>
            <p:nvPr userDrawn="1"/>
          </p:nvSpPr>
          <p:spPr bwMode="auto">
            <a:xfrm>
              <a:off x="6594" y="1252"/>
              <a:ext cx="195" cy="262"/>
            </a:xfrm>
            <a:custGeom>
              <a:avLst/>
              <a:gdLst>
                <a:gd name="T0" fmla="*/ 346 w 585"/>
                <a:gd name="T1" fmla="*/ 786 h 786"/>
                <a:gd name="T2" fmla="*/ 0 w 585"/>
                <a:gd name="T3" fmla="*/ 786 h 786"/>
                <a:gd name="T4" fmla="*/ 0 w 585"/>
                <a:gd name="T5" fmla="*/ 711 h 786"/>
                <a:gd name="T6" fmla="*/ 78 w 585"/>
                <a:gd name="T7" fmla="*/ 688 h 786"/>
                <a:gd name="T8" fmla="*/ 78 w 585"/>
                <a:gd name="T9" fmla="*/ 99 h 786"/>
                <a:gd name="T10" fmla="*/ 0 w 585"/>
                <a:gd name="T11" fmla="*/ 74 h 786"/>
                <a:gd name="T12" fmla="*/ 0 w 585"/>
                <a:gd name="T13" fmla="*/ 0 h 786"/>
                <a:gd name="T14" fmla="*/ 585 w 585"/>
                <a:gd name="T15" fmla="*/ 0 h 786"/>
                <a:gd name="T16" fmla="*/ 585 w 585"/>
                <a:gd name="T17" fmla="*/ 188 h 786"/>
                <a:gd name="T18" fmla="*/ 454 w 585"/>
                <a:gd name="T19" fmla="*/ 188 h 786"/>
                <a:gd name="T20" fmla="*/ 410 w 585"/>
                <a:gd name="T21" fmla="*/ 92 h 786"/>
                <a:gd name="T22" fmla="*/ 249 w 585"/>
                <a:gd name="T23" fmla="*/ 92 h 786"/>
                <a:gd name="T24" fmla="*/ 249 w 585"/>
                <a:gd name="T25" fmla="*/ 335 h 786"/>
                <a:gd name="T26" fmla="*/ 381 w 585"/>
                <a:gd name="T27" fmla="*/ 335 h 786"/>
                <a:gd name="T28" fmla="*/ 414 w 585"/>
                <a:gd name="T29" fmla="*/ 256 h 786"/>
                <a:gd name="T30" fmla="*/ 524 w 585"/>
                <a:gd name="T31" fmla="*/ 256 h 786"/>
                <a:gd name="T32" fmla="*/ 524 w 585"/>
                <a:gd name="T33" fmla="*/ 506 h 786"/>
                <a:gd name="T34" fmla="*/ 414 w 585"/>
                <a:gd name="T35" fmla="*/ 506 h 786"/>
                <a:gd name="T36" fmla="*/ 381 w 585"/>
                <a:gd name="T37" fmla="*/ 428 h 786"/>
                <a:gd name="T38" fmla="*/ 249 w 585"/>
                <a:gd name="T39" fmla="*/ 428 h 786"/>
                <a:gd name="T40" fmla="*/ 249 w 585"/>
                <a:gd name="T41" fmla="*/ 693 h 786"/>
                <a:gd name="T42" fmla="*/ 346 w 585"/>
                <a:gd name="T43" fmla="*/ 711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5" h="786">
                  <a:moveTo>
                    <a:pt x="346" y="786"/>
                  </a:moveTo>
                  <a:lnTo>
                    <a:pt x="0" y="786"/>
                  </a:lnTo>
                  <a:lnTo>
                    <a:pt x="0" y="711"/>
                  </a:lnTo>
                  <a:lnTo>
                    <a:pt x="78" y="688"/>
                  </a:lnTo>
                  <a:lnTo>
                    <a:pt x="78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585" y="0"/>
                  </a:lnTo>
                  <a:lnTo>
                    <a:pt x="585" y="188"/>
                  </a:lnTo>
                  <a:lnTo>
                    <a:pt x="454" y="188"/>
                  </a:lnTo>
                  <a:lnTo>
                    <a:pt x="410" y="92"/>
                  </a:lnTo>
                  <a:lnTo>
                    <a:pt x="249" y="92"/>
                  </a:lnTo>
                  <a:lnTo>
                    <a:pt x="249" y="335"/>
                  </a:lnTo>
                  <a:lnTo>
                    <a:pt x="381" y="335"/>
                  </a:lnTo>
                  <a:lnTo>
                    <a:pt x="414" y="256"/>
                  </a:lnTo>
                  <a:lnTo>
                    <a:pt x="524" y="256"/>
                  </a:lnTo>
                  <a:lnTo>
                    <a:pt x="524" y="506"/>
                  </a:lnTo>
                  <a:lnTo>
                    <a:pt x="414" y="506"/>
                  </a:lnTo>
                  <a:lnTo>
                    <a:pt x="381" y="428"/>
                  </a:lnTo>
                  <a:lnTo>
                    <a:pt x="249" y="428"/>
                  </a:lnTo>
                  <a:lnTo>
                    <a:pt x="249" y="693"/>
                  </a:lnTo>
                  <a:lnTo>
                    <a:pt x="346" y="711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23"/>
            <p:cNvSpPr>
              <a:spLocks noEditPoints="1"/>
            </p:cNvSpPr>
            <p:nvPr userDrawn="1"/>
          </p:nvSpPr>
          <p:spPr bwMode="auto">
            <a:xfrm>
              <a:off x="6300" y="1247"/>
              <a:ext cx="243" cy="272"/>
            </a:xfrm>
            <a:custGeom>
              <a:avLst/>
              <a:gdLst>
                <a:gd name="T0" fmla="*/ 407 w 729"/>
                <a:gd name="T1" fmla="*/ 709 h 817"/>
                <a:gd name="T2" fmla="*/ 476 w 729"/>
                <a:gd name="T3" fmla="*/ 672 h 817"/>
                <a:gd name="T4" fmla="*/ 513 w 729"/>
                <a:gd name="T5" fmla="*/ 617 h 817"/>
                <a:gd name="T6" fmla="*/ 540 w 729"/>
                <a:gd name="T7" fmla="*/ 512 h 817"/>
                <a:gd name="T8" fmla="*/ 546 w 729"/>
                <a:gd name="T9" fmla="*/ 408 h 817"/>
                <a:gd name="T10" fmla="*/ 535 w 729"/>
                <a:gd name="T11" fmla="*/ 276 h 817"/>
                <a:gd name="T12" fmla="*/ 501 w 729"/>
                <a:gd name="T13" fmla="*/ 180 h 817"/>
                <a:gd name="T14" fmla="*/ 459 w 729"/>
                <a:gd name="T15" fmla="*/ 132 h 817"/>
                <a:gd name="T16" fmla="*/ 385 w 729"/>
                <a:gd name="T17" fmla="*/ 103 h 817"/>
                <a:gd name="T18" fmla="*/ 322 w 729"/>
                <a:gd name="T19" fmla="*/ 107 h 817"/>
                <a:gd name="T20" fmla="*/ 256 w 729"/>
                <a:gd name="T21" fmla="*/ 146 h 817"/>
                <a:gd name="T22" fmla="*/ 219 w 729"/>
                <a:gd name="T23" fmla="*/ 202 h 817"/>
                <a:gd name="T24" fmla="*/ 191 w 729"/>
                <a:gd name="T25" fmla="*/ 306 h 817"/>
                <a:gd name="T26" fmla="*/ 184 w 729"/>
                <a:gd name="T27" fmla="*/ 408 h 817"/>
                <a:gd name="T28" fmla="*/ 195 w 729"/>
                <a:gd name="T29" fmla="*/ 542 h 817"/>
                <a:gd name="T30" fmla="*/ 230 w 729"/>
                <a:gd name="T31" fmla="*/ 636 h 817"/>
                <a:gd name="T32" fmla="*/ 270 w 729"/>
                <a:gd name="T33" fmla="*/ 684 h 817"/>
                <a:gd name="T34" fmla="*/ 343 w 729"/>
                <a:gd name="T35" fmla="*/ 713 h 817"/>
                <a:gd name="T36" fmla="*/ 344 w 729"/>
                <a:gd name="T37" fmla="*/ 817 h 817"/>
                <a:gd name="T38" fmla="*/ 266 w 729"/>
                <a:gd name="T39" fmla="*/ 806 h 817"/>
                <a:gd name="T40" fmla="*/ 196 w 729"/>
                <a:gd name="T41" fmla="*/ 784 h 817"/>
                <a:gd name="T42" fmla="*/ 136 w 729"/>
                <a:gd name="T43" fmla="*/ 748 h 817"/>
                <a:gd name="T44" fmla="*/ 98 w 729"/>
                <a:gd name="T45" fmla="*/ 713 h 817"/>
                <a:gd name="T46" fmla="*/ 55 w 729"/>
                <a:gd name="T47" fmla="*/ 656 h 817"/>
                <a:gd name="T48" fmla="*/ 24 w 729"/>
                <a:gd name="T49" fmla="*/ 590 h 817"/>
                <a:gd name="T50" fmla="*/ 5 w 729"/>
                <a:gd name="T51" fmla="*/ 513 h 817"/>
                <a:gd name="T52" fmla="*/ 0 w 729"/>
                <a:gd name="T53" fmla="*/ 428 h 817"/>
                <a:gd name="T54" fmla="*/ 3 w 729"/>
                <a:gd name="T55" fmla="*/ 356 h 817"/>
                <a:gd name="T56" fmla="*/ 20 w 729"/>
                <a:gd name="T57" fmla="*/ 272 h 817"/>
                <a:gd name="T58" fmla="*/ 48 w 729"/>
                <a:gd name="T59" fmla="*/ 196 h 817"/>
                <a:gd name="T60" fmla="*/ 90 w 729"/>
                <a:gd name="T61" fmla="*/ 131 h 817"/>
                <a:gd name="T62" fmla="*/ 130 w 729"/>
                <a:gd name="T63" fmla="*/ 89 h 817"/>
                <a:gd name="T64" fmla="*/ 190 w 729"/>
                <a:gd name="T65" fmla="*/ 45 h 817"/>
                <a:gd name="T66" fmla="*/ 258 w 729"/>
                <a:gd name="T67" fmla="*/ 17 h 817"/>
                <a:gd name="T68" fmla="*/ 335 w 729"/>
                <a:gd name="T69" fmla="*/ 1 h 817"/>
                <a:gd name="T70" fmla="*/ 397 w 729"/>
                <a:gd name="T71" fmla="*/ 0 h 817"/>
                <a:gd name="T72" fmla="*/ 471 w 729"/>
                <a:gd name="T73" fmla="*/ 10 h 817"/>
                <a:gd name="T74" fmla="*/ 538 w 729"/>
                <a:gd name="T75" fmla="*/ 33 h 817"/>
                <a:gd name="T76" fmla="*/ 596 w 729"/>
                <a:gd name="T77" fmla="*/ 68 h 817"/>
                <a:gd name="T78" fmla="*/ 634 w 729"/>
                <a:gd name="T79" fmla="*/ 105 h 817"/>
                <a:gd name="T80" fmla="*/ 676 w 729"/>
                <a:gd name="T81" fmla="*/ 162 h 817"/>
                <a:gd name="T82" fmla="*/ 706 w 729"/>
                <a:gd name="T83" fmla="*/ 228 h 817"/>
                <a:gd name="T84" fmla="*/ 724 w 729"/>
                <a:gd name="T85" fmla="*/ 303 h 817"/>
                <a:gd name="T86" fmla="*/ 729 w 729"/>
                <a:gd name="T87" fmla="*/ 387 h 817"/>
                <a:gd name="T88" fmla="*/ 724 w 729"/>
                <a:gd name="T89" fmla="*/ 481 h 817"/>
                <a:gd name="T90" fmla="*/ 704 w 729"/>
                <a:gd name="T91" fmla="*/ 564 h 817"/>
                <a:gd name="T92" fmla="*/ 673 w 729"/>
                <a:gd name="T93" fmla="*/ 638 h 817"/>
                <a:gd name="T94" fmla="*/ 631 w 729"/>
                <a:gd name="T95" fmla="*/ 700 h 817"/>
                <a:gd name="T96" fmla="*/ 592 w 729"/>
                <a:gd name="T97" fmla="*/ 740 h 817"/>
                <a:gd name="T98" fmla="*/ 531 w 729"/>
                <a:gd name="T99" fmla="*/ 780 h 817"/>
                <a:gd name="T100" fmla="*/ 462 w 729"/>
                <a:gd name="T101" fmla="*/ 805 h 817"/>
                <a:gd name="T102" fmla="*/ 385 w 729"/>
                <a:gd name="T103" fmla="*/ 81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9" h="817">
                  <a:moveTo>
                    <a:pt x="365" y="714"/>
                  </a:moveTo>
                  <a:lnTo>
                    <a:pt x="365" y="714"/>
                  </a:lnTo>
                  <a:lnTo>
                    <a:pt x="387" y="713"/>
                  </a:lnTo>
                  <a:lnTo>
                    <a:pt x="407" y="709"/>
                  </a:lnTo>
                  <a:lnTo>
                    <a:pt x="427" y="704"/>
                  </a:lnTo>
                  <a:lnTo>
                    <a:pt x="445" y="695"/>
                  </a:lnTo>
                  <a:lnTo>
                    <a:pt x="461" y="684"/>
                  </a:lnTo>
                  <a:lnTo>
                    <a:pt x="476" y="672"/>
                  </a:lnTo>
                  <a:lnTo>
                    <a:pt x="489" y="656"/>
                  </a:lnTo>
                  <a:lnTo>
                    <a:pt x="501" y="638"/>
                  </a:lnTo>
                  <a:lnTo>
                    <a:pt x="501" y="638"/>
                  </a:lnTo>
                  <a:lnTo>
                    <a:pt x="513" y="617"/>
                  </a:lnTo>
                  <a:lnTo>
                    <a:pt x="522" y="595"/>
                  </a:lnTo>
                  <a:lnTo>
                    <a:pt x="529" y="569"/>
                  </a:lnTo>
                  <a:lnTo>
                    <a:pt x="536" y="542"/>
                  </a:lnTo>
                  <a:lnTo>
                    <a:pt x="540" y="512"/>
                  </a:lnTo>
                  <a:lnTo>
                    <a:pt x="544" y="480"/>
                  </a:lnTo>
                  <a:lnTo>
                    <a:pt x="546" y="445"/>
                  </a:lnTo>
                  <a:lnTo>
                    <a:pt x="546" y="408"/>
                  </a:lnTo>
                  <a:lnTo>
                    <a:pt x="546" y="408"/>
                  </a:lnTo>
                  <a:lnTo>
                    <a:pt x="546" y="372"/>
                  </a:lnTo>
                  <a:lnTo>
                    <a:pt x="544" y="337"/>
                  </a:lnTo>
                  <a:lnTo>
                    <a:pt x="540" y="306"/>
                  </a:lnTo>
                  <a:lnTo>
                    <a:pt x="535" y="276"/>
                  </a:lnTo>
                  <a:lnTo>
                    <a:pt x="528" y="249"/>
                  </a:lnTo>
                  <a:lnTo>
                    <a:pt x="520" y="224"/>
                  </a:lnTo>
                  <a:lnTo>
                    <a:pt x="511" y="201"/>
                  </a:lnTo>
                  <a:lnTo>
                    <a:pt x="501" y="180"/>
                  </a:lnTo>
                  <a:lnTo>
                    <a:pt x="501" y="180"/>
                  </a:lnTo>
                  <a:lnTo>
                    <a:pt x="488" y="162"/>
                  </a:lnTo>
                  <a:lnTo>
                    <a:pt x="475" y="146"/>
                  </a:lnTo>
                  <a:lnTo>
                    <a:pt x="459" y="132"/>
                  </a:lnTo>
                  <a:lnTo>
                    <a:pt x="444" y="122"/>
                  </a:lnTo>
                  <a:lnTo>
                    <a:pt x="426" y="113"/>
                  </a:lnTo>
                  <a:lnTo>
                    <a:pt x="406" y="107"/>
                  </a:lnTo>
                  <a:lnTo>
                    <a:pt x="385" y="103"/>
                  </a:lnTo>
                  <a:lnTo>
                    <a:pt x="363" y="102"/>
                  </a:lnTo>
                  <a:lnTo>
                    <a:pt x="363" y="102"/>
                  </a:lnTo>
                  <a:lnTo>
                    <a:pt x="343" y="103"/>
                  </a:lnTo>
                  <a:lnTo>
                    <a:pt x="322" y="107"/>
                  </a:lnTo>
                  <a:lnTo>
                    <a:pt x="304" y="114"/>
                  </a:lnTo>
                  <a:lnTo>
                    <a:pt x="287" y="122"/>
                  </a:lnTo>
                  <a:lnTo>
                    <a:pt x="270" y="133"/>
                  </a:lnTo>
                  <a:lnTo>
                    <a:pt x="256" y="146"/>
                  </a:lnTo>
                  <a:lnTo>
                    <a:pt x="241" y="162"/>
                  </a:lnTo>
                  <a:lnTo>
                    <a:pt x="230" y="181"/>
                  </a:lnTo>
                  <a:lnTo>
                    <a:pt x="230" y="181"/>
                  </a:lnTo>
                  <a:lnTo>
                    <a:pt x="219" y="202"/>
                  </a:lnTo>
                  <a:lnTo>
                    <a:pt x="210" y="224"/>
                  </a:lnTo>
                  <a:lnTo>
                    <a:pt x="203" y="250"/>
                  </a:lnTo>
                  <a:lnTo>
                    <a:pt x="196" y="277"/>
                  </a:lnTo>
                  <a:lnTo>
                    <a:pt x="191" y="306"/>
                  </a:lnTo>
                  <a:lnTo>
                    <a:pt x="187" y="338"/>
                  </a:lnTo>
                  <a:lnTo>
                    <a:pt x="184" y="372"/>
                  </a:lnTo>
                  <a:lnTo>
                    <a:pt x="184" y="408"/>
                  </a:lnTo>
                  <a:lnTo>
                    <a:pt x="184" y="408"/>
                  </a:lnTo>
                  <a:lnTo>
                    <a:pt x="184" y="445"/>
                  </a:lnTo>
                  <a:lnTo>
                    <a:pt x="187" y="480"/>
                  </a:lnTo>
                  <a:lnTo>
                    <a:pt x="191" y="512"/>
                  </a:lnTo>
                  <a:lnTo>
                    <a:pt x="195" y="542"/>
                  </a:lnTo>
                  <a:lnTo>
                    <a:pt x="201" y="569"/>
                  </a:lnTo>
                  <a:lnTo>
                    <a:pt x="209" y="594"/>
                  </a:lnTo>
                  <a:lnTo>
                    <a:pt x="219" y="617"/>
                  </a:lnTo>
                  <a:lnTo>
                    <a:pt x="230" y="636"/>
                  </a:lnTo>
                  <a:lnTo>
                    <a:pt x="230" y="636"/>
                  </a:lnTo>
                  <a:lnTo>
                    <a:pt x="241" y="655"/>
                  </a:lnTo>
                  <a:lnTo>
                    <a:pt x="256" y="672"/>
                  </a:lnTo>
                  <a:lnTo>
                    <a:pt x="270" y="684"/>
                  </a:lnTo>
                  <a:lnTo>
                    <a:pt x="287" y="695"/>
                  </a:lnTo>
                  <a:lnTo>
                    <a:pt x="304" y="704"/>
                  </a:lnTo>
                  <a:lnTo>
                    <a:pt x="323" y="709"/>
                  </a:lnTo>
                  <a:lnTo>
                    <a:pt x="343" y="713"/>
                  </a:lnTo>
                  <a:lnTo>
                    <a:pt x="365" y="714"/>
                  </a:lnTo>
                  <a:close/>
                  <a:moveTo>
                    <a:pt x="365" y="817"/>
                  </a:moveTo>
                  <a:lnTo>
                    <a:pt x="365" y="817"/>
                  </a:lnTo>
                  <a:lnTo>
                    <a:pt x="344" y="817"/>
                  </a:lnTo>
                  <a:lnTo>
                    <a:pt x="323" y="815"/>
                  </a:lnTo>
                  <a:lnTo>
                    <a:pt x="304" y="813"/>
                  </a:lnTo>
                  <a:lnTo>
                    <a:pt x="284" y="810"/>
                  </a:lnTo>
                  <a:lnTo>
                    <a:pt x="266" y="806"/>
                  </a:lnTo>
                  <a:lnTo>
                    <a:pt x="248" y="802"/>
                  </a:lnTo>
                  <a:lnTo>
                    <a:pt x="230" y="797"/>
                  </a:lnTo>
                  <a:lnTo>
                    <a:pt x="213" y="791"/>
                  </a:lnTo>
                  <a:lnTo>
                    <a:pt x="196" y="784"/>
                  </a:lnTo>
                  <a:lnTo>
                    <a:pt x="181" y="777"/>
                  </a:lnTo>
                  <a:lnTo>
                    <a:pt x="165" y="767"/>
                  </a:lnTo>
                  <a:lnTo>
                    <a:pt x="151" y="758"/>
                  </a:lnTo>
                  <a:lnTo>
                    <a:pt x="136" y="748"/>
                  </a:lnTo>
                  <a:lnTo>
                    <a:pt x="122" y="738"/>
                  </a:lnTo>
                  <a:lnTo>
                    <a:pt x="109" y="726"/>
                  </a:lnTo>
                  <a:lnTo>
                    <a:pt x="98" y="713"/>
                  </a:lnTo>
                  <a:lnTo>
                    <a:pt x="98" y="713"/>
                  </a:lnTo>
                  <a:lnTo>
                    <a:pt x="86" y="700"/>
                  </a:lnTo>
                  <a:lnTo>
                    <a:pt x="74" y="686"/>
                  </a:lnTo>
                  <a:lnTo>
                    <a:pt x="64" y="672"/>
                  </a:lnTo>
                  <a:lnTo>
                    <a:pt x="55" y="656"/>
                  </a:lnTo>
                  <a:lnTo>
                    <a:pt x="46" y="640"/>
                  </a:lnTo>
                  <a:lnTo>
                    <a:pt x="38" y="625"/>
                  </a:lnTo>
                  <a:lnTo>
                    <a:pt x="30" y="607"/>
                  </a:lnTo>
                  <a:lnTo>
                    <a:pt x="24" y="590"/>
                  </a:lnTo>
                  <a:lnTo>
                    <a:pt x="18" y="572"/>
                  </a:lnTo>
                  <a:lnTo>
                    <a:pt x="13" y="553"/>
                  </a:lnTo>
                  <a:lnTo>
                    <a:pt x="9" y="534"/>
                  </a:lnTo>
                  <a:lnTo>
                    <a:pt x="5" y="513"/>
                  </a:lnTo>
                  <a:lnTo>
                    <a:pt x="3" y="493"/>
                  </a:lnTo>
                  <a:lnTo>
                    <a:pt x="2" y="472"/>
                  </a:lnTo>
                  <a:lnTo>
                    <a:pt x="0" y="450"/>
                  </a:lnTo>
                  <a:lnTo>
                    <a:pt x="0" y="428"/>
                  </a:lnTo>
                  <a:lnTo>
                    <a:pt x="0" y="428"/>
                  </a:lnTo>
                  <a:lnTo>
                    <a:pt x="0" y="403"/>
                  </a:lnTo>
                  <a:lnTo>
                    <a:pt x="2" y="380"/>
                  </a:lnTo>
                  <a:lnTo>
                    <a:pt x="3" y="356"/>
                  </a:lnTo>
                  <a:lnTo>
                    <a:pt x="7" y="334"/>
                  </a:lnTo>
                  <a:lnTo>
                    <a:pt x="9" y="314"/>
                  </a:lnTo>
                  <a:lnTo>
                    <a:pt x="15" y="292"/>
                  </a:lnTo>
                  <a:lnTo>
                    <a:pt x="20" y="272"/>
                  </a:lnTo>
                  <a:lnTo>
                    <a:pt x="25" y="251"/>
                  </a:lnTo>
                  <a:lnTo>
                    <a:pt x="33" y="233"/>
                  </a:lnTo>
                  <a:lnTo>
                    <a:pt x="40" y="214"/>
                  </a:lnTo>
                  <a:lnTo>
                    <a:pt x="48" y="196"/>
                  </a:lnTo>
                  <a:lnTo>
                    <a:pt x="57" y="179"/>
                  </a:lnTo>
                  <a:lnTo>
                    <a:pt x="68" y="162"/>
                  </a:lnTo>
                  <a:lnTo>
                    <a:pt x="78" y="146"/>
                  </a:lnTo>
                  <a:lnTo>
                    <a:pt x="90" y="131"/>
                  </a:lnTo>
                  <a:lnTo>
                    <a:pt x="103" y="116"/>
                  </a:lnTo>
                  <a:lnTo>
                    <a:pt x="103" y="116"/>
                  </a:lnTo>
                  <a:lnTo>
                    <a:pt x="116" y="102"/>
                  </a:lnTo>
                  <a:lnTo>
                    <a:pt x="130" y="89"/>
                  </a:lnTo>
                  <a:lnTo>
                    <a:pt x="144" y="76"/>
                  </a:lnTo>
                  <a:lnTo>
                    <a:pt x="159" y="65"/>
                  </a:lnTo>
                  <a:lnTo>
                    <a:pt x="174" y="54"/>
                  </a:lnTo>
                  <a:lnTo>
                    <a:pt x="190" y="45"/>
                  </a:lnTo>
                  <a:lnTo>
                    <a:pt x="206" y="36"/>
                  </a:lnTo>
                  <a:lnTo>
                    <a:pt x="223" y="28"/>
                  </a:lnTo>
                  <a:lnTo>
                    <a:pt x="240" y="22"/>
                  </a:lnTo>
                  <a:lnTo>
                    <a:pt x="258" y="17"/>
                  </a:lnTo>
                  <a:lnTo>
                    <a:pt x="277" y="11"/>
                  </a:lnTo>
                  <a:lnTo>
                    <a:pt x="296" y="8"/>
                  </a:lnTo>
                  <a:lnTo>
                    <a:pt x="315" y="4"/>
                  </a:lnTo>
                  <a:lnTo>
                    <a:pt x="335" y="1"/>
                  </a:lnTo>
                  <a:lnTo>
                    <a:pt x="356" y="0"/>
                  </a:lnTo>
                  <a:lnTo>
                    <a:pt x="378" y="0"/>
                  </a:lnTo>
                  <a:lnTo>
                    <a:pt x="378" y="0"/>
                  </a:lnTo>
                  <a:lnTo>
                    <a:pt x="397" y="0"/>
                  </a:lnTo>
                  <a:lnTo>
                    <a:pt x="417" y="1"/>
                  </a:lnTo>
                  <a:lnTo>
                    <a:pt x="435" y="4"/>
                  </a:lnTo>
                  <a:lnTo>
                    <a:pt x="454" y="6"/>
                  </a:lnTo>
                  <a:lnTo>
                    <a:pt x="471" y="10"/>
                  </a:lnTo>
                  <a:lnTo>
                    <a:pt x="489" y="14"/>
                  </a:lnTo>
                  <a:lnTo>
                    <a:pt x="506" y="19"/>
                  </a:lnTo>
                  <a:lnTo>
                    <a:pt x="522" y="26"/>
                  </a:lnTo>
                  <a:lnTo>
                    <a:pt x="538" y="33"/>
                  </a:lnTo>
                  <a:lnTo>
                    <a:pt x="553" y="41"/>
                  </a:lnTo>
                  <a:lnTo>
                    <a:pt x="568" y="49"/>
                  </a:lnTo>
                  <a:lnTo>
                    <a:pt x="583" y="59"/>
                  </a:lnTo>
                  <a:lnTo>
                    <a:pt x="596" y="68"/>
                  </a:lnTo>
                  <a:lnTo>
                    <a:pt x="608" y="80"/>
                  </a:lnTo>
                  <a:lnTo>
                    <a:pt x="621" y="92"/>
                  </a:lnTo>
                  <a:lnTo>
                    <a:pt x="634" y="105"/>
                  </a:lnTo>
                  <a:lnTo>
                    <a:pt x="634" y="105"/>
                  </a:lnTo>
                  <a:lnTo>
                    <a:pt x="646" y="118"/>
                  </a:lnTo>
                  <a:lnTo>
                    <a:pt x="656" y="132"/>
                  </a:lnTo>
                  <a:lnTo>
                    <a:pt x="667" y="146"/>
                  </a:lnTo>
                  <a:lnTo>
                    <a:pt x="676" y="162"/>
                  </a:lnTo>
                  <a:lnTo>
                    <a:pt x="685" y="177"/>
                  </a:lnTo>
                  <a:lnTo>
                    <a:pt x="693" y="194"/>
                  </a:lnTo>
                  <a:lnTo>
                    <a:pt x="699" y="211"/>
                  </a:lnTo>
                  <a:lnTo>
                    <a:pt x="706" y="228"/>
                  </a:lnTo>
                  <a:lnTo>
                    <a:pt x="711" y="246"/>
                  </a:lnTo>
                  <a:lnTo>
                    <a:pt x="716" y="264"/>
                  </a:lnTo>
                  <a:lnTo>
                    <a:pt x="720" y="284"/>
                  </a:lnTo>
                  <a:lnTo>
                    <a:pt x="724" y="303"/>
                  </a:lnTo>
                  <a:lnTo>
                    <a:pt x="726" y="324"/>
                  </a:lnTo>
                  <a:lnTo>
                    <a:pt x="728" y="345"/>
                  </a:lnTo>
                  <a:lnTo>
                    <a:pt x="729" y="387"/>
                  </a:lnTo>
                  <a:lnTo>
                    <a:pt x="729" y="387"/>
                  </a:lnTo>
                  <a:lnTo>
                    <a:pt x="729" y="412"/>
                  </a:lnTo>
                  <a:lnTo>
                    <a:pt x="728" y="435"/>
                  </a:lnTo>
                  <a:lnTo>
                    <a:pt x="726" y="459"/>
                  </a:lnTo>
                  <a:lnTo>
                    <a:pt x="724" y="481"/>
                  </a:lnTo>
                  <a:lnTo>
                    <a:pt x="720" y="503"/>
                  </a:lnTo>
                  <a:lnTo>
                    <a:pt x="716" y="524"/>
                  </a:lnTo>
                  <a:lnTo>
                    <a:pt x="711" y="544"/>
                  </a:lnTo>
                  <a:lnTo>
                    <a:pt x="704" y="564"/>
                  </a:lnTo>
                  <a:lnTo>
                    <a:pt x="698" y="583"/>
                  </a:lnTo>
                  <a:lnTo>
                    <a:pt x="691" y="601"/>
                  </a:lnTo>
                  <a:lnTo>
                    <a:pt x="682" y="620"/>
                  </a:lnTo>
                  <a:lnTo>
                    <a:pt x="673" y="638"/>
                  </a:lnTo>
                  <a:lnTo>
                    <a:pt x="664" y="653"/>
                  </a:lnTo>
                  <a:lnTo>
                    <a:pt x="654" y="670"/>
                  </a:lnTo>
                  <a:lnTo>
                    <a:pt x="642" y="686"/>
                  </a:lnTo>
                  <a:lnTo>
                    <a:pt x="631" y="700"/>
                  </a:lnTo>
                  <a:lnTo>
                    <a:pt x="631" y="700"/>
                  </a:lnTo>
                  <a:lnTo>
                    <a:pt x="618" y="714"/>
                  </a:lnTo>
                  <a:lnTo>
                    <a:pt x="605" y="727"/>
                  </a:lnTo>
                  <a:lnTo>
                    <a:pt x="592" y="740"/>
                  </a:lnTo>
                  <a:lnTo>
                    <a:pt x="577" y="752"/>
                  </a:lnTo>
                  <a:lnTo>
                    <a:pt x="562" y="762"/>
                  </a:lnTo>
                  <a:lnTo>
                    <a:pt x="546" y="771"/>
                  </a:lnTo>
                  <a:lnTo>
                    <a:pt x="531" y="780"/>
                  </a:lnTo>
                  <a:lnTo>
                    <a:pt x="515" y="788"/>
                  </a:lnTo>
                  <a:lnTo>
                    <a:pt x="498" y="795"/>
                  </a:lnTo>
                  <a:lnTo>
                    <a:pt x="480" y="800"/>
                  </a:lnTo>
                  <a:lnTo>
                    <a:pt x="462" y="805"/>
                  </a:lnTo>
                  <a:lnTo>
                    <a:pt x="444" y="809"/>
                  </a:lnTo>
                  <a:lnTo>
                    <a:pt x="426" y="813"/>
                  </a:lnTo>
                  <a:lnTo>
                    <a:pt x="406" y="815"/>
                  </a:lnTo>
                  <a:lnTo>
                    <a:pt x="385" y="817"/>
                  </a:lnTo>
                  <a:lnTo>
                    <a:pt x="365" y="81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24"/>
            <p:cNvSpPr>
              <a:spLocks/>
            </p:cNvSpPr>
            <p:nvPr userDrawn="1"/>
          </p:nvSpPr>
          <p:spPr bwMode="auto">
            <a:xfrm>
              <a:off x="6361" y="1281"/>
              <a:ext cx="121" cy="204"/>
            </a:xfrm>
            <a:custGeom>
              <a:avLst/>
              <a:gdLst>
                <a:gd name="T0" fmla="*/ 181 w 362"/>
                <a:gd name="T1" fmla="*/ 612 h 612"/>
                <a:gd name="T2" fmla="*/ 223 w 362"/>
                <a:gd name="T3" fmla="*/ 607 h 612"/>
                <a:gd name="T4" fmla="*/ 261 w 362"/>
                <a:gd name="T5" fmla="*/ 593 h 612"/>
                <a:gd name="T6" fmla="*/ 292 w 362"/>
                <a:gd name="T7" fmla="*/ 570 h 612"/>
                <a:gd name="T8" fmla="*/ 317 w 362"/>
                <a:gd name="T9" fmla="*/ 536 h 612"/>
                <a:gd name="T10" fmla="*/ 329 w 362"/>
                <a:gd name="T11" fmla="*/ 515 h 612"/>
                <a:gd name="T12" fmla="*/ 345 w 362"/>
                <a:gd name="T13" fmla="*/ 467 h 612"/>
                <a:gd name="T14" fmla="*/ 356 w 362"/>
                <a:gd name="T15" fmla="*/ 410 h 612"/>
                <a:gd name="T16" fmla="*/ 362 w 362"/>
                <a:gd name="T17" fmla="*/ 343 h 612"/>
                <a:gd name="T18" fmla="*/ 362 w 362"/>
                <a:gd name="T19" fmla="*/ 306 h 612"/>
                <a:gd name="T20" fmla="*/ 360 w 362"/>
                <a:gd name="T21" fmla="*/ 235 h 612"/>
                <a:gd name="T22" fmla="*/ 351 w 362"/>
                <a:gd name="T23" fmla="*/ 174 h 612"/>
                <a:gd name="T24" fmla="*/ 336 w 362"/>
                <a:gd name="T25" fmla="*/ 122 h 612"/>
                <a:gd name="T26" fmla="*/ 317 w 362"/>
                <a:gd name="T27" fmla="*/ 78 h 612"/>
                <a:gd name="T28" fmla="*/ 304 w 362"/>
                <a:gd name="T29" fmla="*/ 60 h 612"/>
                <a:gd name="T30" fmla="*/ 275 w 362"/>
                <a:gd name="T31" fmla="*/ 30 h 612"/>
                <a:gd name="T32" fmla="*/ 242 w 362"/>
                <a:gd name="T33" fmla="*/ 11 h 612"/>
                <a:gd name="T34" fmla="*/ 201 w 362"/>
                <a:gd name="T35" fmla="*/ 1 h 612"/>
                <a:gd name="T36" fmla="*/ 179 w 362"/>
                <a:gd name="T37" fmla="*/ 0 h 612"/>
                <a:gd name="T38" fmla="*/ 138 w 362"/>
                <a:gd name="T39" fmla="*/ 5 h 612"/>
                <a:gd name="T40" fmla="*/ 103 w 362"/>
                <a:gd name="T41" fmla="*/ 20 h 612"/>
                <a:gd name="T42" fmla="*/ 72 w 362"/>
                <a:gd name="T43" fmla="*/ 44 h 612"/>
                <a:gd name="T44" fmla="*/ 46 w 362"/>
                <a:gd name="T45" fmla="*/ 79 h 612"/>
                <a:gd name="T46" fmla="*/ 35 w 362"/>
                <a:gd name="T47" fmla="*/ 100 h 612"/>
                <a:gd name="T48" fmla="*/ 19 w 362"/>
                <a:gd name="T49" fmla="*/ 148 h 612"/>
                <a:gd name="T50" fmla="*/ 7 w 362"/>
                <a:gd name="T51" fmla="*/ 204 h 612"/>
                <a:gd name="T52" fmla="*/ 0 w 362"/>
                <a:gd name="T53" fmla="*/ 270 h 612"/>
                <a:gd name="T54" fmla="*/ 0 w 362"/>
                <a:gd name="T55" fmla="*/ 306 h 612"/>
                <a:gd name="T56" fmla="*/ 3 w 362"/>
                <a:gd name="T57" fmla="*/ 378 h 612"/>
                <a:gd name="T58" fmla="*/ 11 w 362"/>
                <a:gd name="T59" fmla="*/ 440 h 612"/>
                <a:gd name="T60" fmla="*/ 25 w 362"/>
                <a:gd name="T61" fmla="*/ 492 h 612"/>
                <a:gd name="T62" fmla="*/ 46 w 362"/>
                <a:gd name="T63" fmla="*/ 534 h 612"/>
                <a:gd name="T64" fmla="*/ 57 w 362"/>
                <a:gd name="T65" fmla="*/ 553 h 612"/>
                <a:gd name="T66" fmla="*/ 86 w 362"/>
                <a:gd name="T67" fmla="*/ 582 h 612"/>
                <a:gd name="T68" fmla="*/ 120 w 362"/>
                <a:gd name="T69" fmla="*/ 602 h 612"/>
                <a:gd name="T70" fmla="*/ 159 w 362"/>
                <a:gd name="T71" fmla="*/ 611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2" h="612">
                  <a:moveTo>
                    <a:pt x="181" y="612"/>
                  </a:moveTo>
                  <a:lnTo>
                    <a:pt x="181" y="612"/>
                  </a:lnTo>
                  <a:lnTo>
                    <a:pt x="203" y="611"/>
                  </a:lnTo>
                  <a:lnTo>
                    <a:pt x="223" y="607"/>
                  </a:lnTo>
                  <a:lnTo>
                    <a:pt x="243" y="602"/>
                  </a:lnTo>
                  <a:lnTo>
                    <a:pt x="261" y="593"/>
                  </a:lnTo>
                  <a:lnTo>
                    <a:pt x="277" y="582"/>
                  </a:lnTo>
                  <a:lnTo>
                    <a:pt x="292" y="570"/>
                  </a:lnTo>
                  <a:lnTo>
                    <a:pt x="305" y="554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29" y="515"/>
                  </a:lnTo>
                  <a:lnTo>
                    <a:pt x="338" y="493"/>
                  </a:lnTo>
                  <a:lnTo>
                    <a:pt x="345" y="467"/>
                  </a:lnTo>
                  <a:lnTo>
                    <a:pt x="352" y="440"/>
                  </a:lnTo>
                  <a:lnTo>
                    <a:pt x="356" y="410"/>
                  </a:lnTo>
                  <a:lnTo>
                    <a:pt x="360" y="378"/>
                  </a:lnTo>
                  <a:lnTo>
                    <a:pt x="362" y="343"/>
                  </a:lnTo>
                  <a:lnTo>
                    <a:pt x="362" y="306"/>
                  </a:lnTo>
                  <a:lnTo>
                    <a:pt x="362" y="306"/>
                  </a:lnTo>
                  <a:lnTo>
                    <a:pt x="362" y="270"/>
                  </a:lnTo>
                  <a:lnTo>
                    <a:pt x="360" y="235"/>
                  </a:lnTo>
                  <a:lnTo>
                    <a:pt x="356" y="204"/>
                  </a:lnTo>
                  <a:lnTo>
                    <a:pt x="351" y="174"/>
                  </a:lnTo>
                  <a:lnTo>
                    <a:pt x="344" y="147"/>
                  </a:lnTo>
                  <a:lnTo>
                    <a:pt x="336" y="122"/>
                  </a:lnTo>
                  <a:lnTo>
                    <a:pt x="327" y="99"/>
                  </a:lnTo>
                  <a:lnTo>
                    <a:pt x="317" y="78"/>
                  </a:lnTo>
                  <a:lnTo>
                    <a:pt x="317" y="78"/>
                  </a:lnTo>
                  <a:lnTo>
                    <a:pt x="304" y="60"/>
                  </a:lnTo>
                  <a:lnTo>
                    <a:pt x="291" y="44"/>
                  </a:lnTo>
                  <a:lnTo>
                    <a:pt x="275" y="30"/>
                  </a:lnTo>
                  <a:lnTo>
                    <a:pt x="260" y="20"/>
                  </a:lnTo>
                  <a:lnTo>
                    <a:pt x="242" y="11"/>
                  </a:lnTo>
                  <a:lnTo>
                    <a:pt x="222" y="5"/>
                  </a:lnTo>
                  <a:lnTo>
                    <a:pt x="201" y="1"/>
                  </a:lnTo>
                  <a:lnTo>
                    <a:pt x="179" y="0"/>
                  </a:lnTo>
                  <a:lnTo>
                    <a:pt x="179" y="0"/>
                  </a:lnTo>
                  <a:lnTo>
                    <a:pt x="159" y="1"/>
                  </a:lnTo>
                  <a:lnTo>
                    <a:pt x="138" y="5"/>
                  </a:lnTo>
                  <a:lnTo>
                    <a:pt x="120" y="12"/>
                  </a:lnTo>
                  <a:lnTo>
                    <a:pt x="103" y="20"/>
                  </a:lnTo>
                  <a:lnTo>
                    <a:pt x="86" y="31"/>
                  </a:lnTo>
                  <a:lnTo>
                    <a:pt x="72" y="44"/>
                  </a:lnTo>
                  <a:lnTo>
                    <a:pt x="57" y="60"/>
                  </a:lnTo>
                  <a:lnTo>
                    <a:pt x="46" y="79"/>
                  </a:lnTo>
                  <a:lnTo>
                    <a:pt x="46" y="79"/>
                  </a:lnTo>
                  <a:lnTo>
                    <a:pt x="35" y="100"/>
                  </a:lnTo>
                  <a:lnTo>
                    <a:pt x="26" y="122"/>
                  </a:lnTo>
                  <a:lnTo>
                    <a:pt x="19" y="148"/>
                  </a:lnTo>
                  <a:lnTo>
                    <a:pt x="12" y="175"/>
                  </a:lnTo>
                  <a:lnTo>
                    <a:pt x="7" y="204"/>
                  </a:lnTo>
                  <a:lnTo>
                    <a:pt x="3" y="236"/>
                  </a:lnTo>
                  <a:lnTo>
                    <a:pt x="0" y="270"/>
                  </a:lnTo>
                  <a:lnTo>
                    <a:pt x="0" y="306"/>
                  </a:lnTo>
                  <a:lnTo>
                    <a:pt x="0" y="306"/>
                  </a:lnTo>
                  <a:lnTo>
                    <a:pt x="0" y="343"/>
                  </a:lnTo>
                  <a:lnTo>
                    <a:pt x="3" y="378"/>
                  </a:lnTo>
                  <a:lnTo>
                    <a:pt x="7" y="410"/>
                  </a:lnTo>
                  <a:lnTo>
                    <a:pt x="11" y="440"/>
                  </a:lnTo>
                  <a:lnTo>
                    <a:pt x="17" y="467"/>
                  </a:lnTo>
                  <a:lnTo>
                    <a:pt x="25" y="492"/>
                  </a:lnTo>
                  <a:lnTo>
                    <a:pt x="35" y="515"/>
                  </a:lnTo>
                  <a:lnTo>
                    <a:pt x="46" y="534"/>
                  </a:lnTo>
                  <a:lnTo>
                    <a:pt x="46" y="534"/>
                  </a:lnTo>
                  <a:lnTo>
                    <a:pt x="57" y="553"/>
                  </a:lnTo>
                  <a:lnTo>
                    <a:pt x="72" y="570"/>
                  </a:lnTo>
                  <a:lnTo>
                    <a:pt x="86" y="582"/>
                  </a:lnTo>
                  <a:lnTo>
                    <a:pt x="103" y="593"/>
                  </a:lnTo>
                  <a:lnTo>
                    <a:pt x="120" y="602"/>
                  </a:lnTo>
                  <a:lnTo>
                    <a:pt x="139" y="607"/>
                  </a:lnTo>
                  <a:lnTo>
                    <a:pt x="159" y="611"/>
                  </a:lnTo>
                  <a:lnTo>
                    <a:pt x="181" y="612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25"/>
            <p:cNvSpPr>
              <a:spLocks/>
            </p:cNvSpPr>
            <p:nvPr userDrawn="1"/>
          </p:nvSpPr>
          <p:spPr bwMode="auto">
            <a:xfrm>
              <a:off x="6300" y="1247"/>
              <a:ext cx="243" cy="272"/>
            </a:xfrm>
            <a:custGeom>
              <a:avLst/>
              <a:gdLst>
                <a:gd name="T0" fmla="*/ 344 w 729"/>
                <a:gd name="T1" fmla="*/ 817 h 817"/>
                <a:gd name="T2" fmla="*/ 284 w 729"/>
                <a:gd name="T3" fmla="*/ 810 h 817"/>
                <a:gd name="T4" fmla="*/ 230 w 729"/>
                <a:gd name="T5" fmla="*/ 797 h 817"/>
                <a:gd name="T6" fmla="*/ 181 w 729"/>
                <a:gd name="T7" fmla="*/ 777 h 817"/>
                <a:gd name="T8" fmla="*/ 136 w 729"/>
                <a:gd name="T9" fmla="*/ 748 h 817"/>
                <a:gd name="T10" fmla="*/ 98 w 729"/>
                <a:gd name="T11" fmla="*/ 713 h 817"/>
                <a:gd name="T12" fmla="*/ 74 w 729"/>
                <a:gd name="T13" fmla="*/ 686 h 817"/>
                <a:gd name="T14" fmla="*/ 46 w 729"/>
                <a:gd name="T15" fmla="*/ 640 h 817"/>
                <a:gd name="T16" fmla="*/ 24 w 729"/>
                <a:gd name="T17" fmla="*/ 590 h 817"/>
                <a:gd name="T18" fmla="*/ 9 w 729"/>
                <a:gd name="T19" fmla="*/ 534 h 817"/>
                <a:gd name="T20" fmla="*/ 2 w 729"/>
                <a:gd name="T21" fmla="*/ 472 h 817"/>
                <a:gd name="T22" fmla="*/ 0 w 729"/>
                <a:gd name="T23" fmla="*/ 428 h 817"/>
                <a:gd name="T24" fmla="*/ 3 w 729"/>
                <a:gd name="T25" fmla="*/ 356 h 817"/>
                <a:gd name="T26" fmla="*/ 15 w 729"/>
                <a:gd name="T27" fmla="*/ 292 h 817"/>
                <a:gd name="T28" fmla="*/ 33 w 729"/>
                <a:gd name="T29" fmla="*/ 233 h 817"/>
                <a:gd name="T30" fmla="*/ 57 w 729"/>
                <a:gd name="T31" fmla="*/ 179 h 817"/>
                <a:gd name="T32" fmla="*/ 90 w 729"/>
                <a:gd name="T33" fmla="*/ 131 h 817"/>
                <a:gd name="T34" fmla="*/ 116 w 729"/>
                <a:gd name="T35" fmla="*/ 102 h 817"/>
                <a:gd name="T36" fmla="*/ 159 w 729"/>
                <a:gd name="T37" fmla="*/ 65 h 817"/>
                <a:gd name="T38" fmla="*/ 206 w 729"/>
                <a:gd name="T39" fmla="*/ 36 h 817"/>
                <a:gd name="T40" fmla="*/ 258 w 729"/>
                <a:gd name="T41" fmla="*/ 17 h 817"/>
                <a:gd name="T42" fmla="*/ 315 w 729"/>
                <a:gd name="T43" fmla="*/ 4 h 817"/>
                <a:gd name="T44" fmla="*/ 378 w 729"/>
                <a:gd name="T45" fmla="*/ 0 h 817"/>
                <a:gd name="T46" fmla="*/ 417 w 729"/>
                <a:gd name="T47" fmla="*/ 1 h 817"/>
                <a:gd name="T48" fmla="*/ 471 w 729"/>
                <a:gd name="T49" fmla="*/ 10 h 817"/>
                <a:gd name="T50" fmla="*/ 522 w 729"/>
                <a:gd name="T51" fmla="*/ 26 h 817"/>
                <a:gd name="T52" fmla="*/ 568 w 729"/>
                <a:gd name="T53" fmla="*/ 49 h 817"/>
                <a:gd name="T54" fmla="*/ 608 w 729"/>
                <a:gd name="T55" fmla="*/ 80 h 817"/>
                <a:gd name="T56" fmla="*/ 634 w 729"/>
                <a:gd name="T57" fmla="*/ 105 h 817"/>
                <a:gd name="T58" fmla="*/ 667 w 729"/>
                <a:gd name="T59" fmla="*/ 146 h 817"/>
                <a:gd name="T60" fmla="*/ 693 w 729"/>
                <a:gd name="T61" fmla="*/ 194 h 817"/>
                <a:gd name="T62" fmla="*/ 711 w 729"/>
                <a:gd name="T63" fmla="*/ 246 h 817"/>
                <a:gd name="T64" fmla="*/ 724 w 729"/>
                <a:gd name="T65" fmla="*/ 303 h 817"/>
                <a:gd name="T66" fmla="*/ 729 w 729"/>
                <a:gd name="T67" fmla="*/ 387 h 817"/>
                <a:gd name="T68" fmla="*/ 728 w 729"/>
                <a:gd name="T69" fmla="*/ 435 h 817"/>
                <a:gd name="T70" fmla="*/ 720 w 729"/>
                <a:gd name="T71" fmla="*/ 503 h 817"/>
                <a:gd name="T72" fmla="*/ 704 w 729"/>
                <a:gd name="T73" fmla="*/ 564 h 817"/>
                <a:gd name="T74" fmla="*/ 682 w 729"/>
                <a:gd name="T75" fmla="*/ 620 h 817"/>
                <a:gd name="T76" fmla="*/ 654 w 729"/>
                <a:gd name="T77" fmla="*/ 670 h 817"/>
                <a:gd name="T78" fmla="*/ 631 w 729"/>
                <a:gd name="T79" fmla="*/ 700 h 817"/>
                <a:gd name="T80" fmla="*/ 592 w 729"/>
                <a:gd name="T81" fmla="*/ 740 h 817"/>
                <a:gd name="T82" fmla="*/ 546 w 729"/>
                <a:gd name="T83" fmla="*/ 771 h 817"/>
                <a:gd name="T84" fmla="*/ 498 w 729"/>
                <a:gd name="T85" fmla="*/ 795 h 817"/>
                <a:gd name="T86" fmla="*/ 444 w 729"/>
                <a:gd name="T87" fmla="*/ 809 h 817"/>
                <a:gd name="T88" fmla="*/ 385 w 729"/>
                <a:gd name="T89" fmla="*/ 81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29" h="817">
                  <a:moveTo>
                    <a:pt x="365" y="817"/>
                  </a:moveTo>
                  <a:lnTo>
                    <a:pt x="365" y="817"/>
                  </a:lnTo>
                  <a:lnTo>
                    <a:pt x="344" y="817"/>
                  </a:lnTo>
                  <a:lnTo>
                    <a:pt x="323" y="815"/>
                  </a:lnTo>
                  <a:lnTo>
                    <a:pt x="304" y="813"/>
                  </a:lnTo>
                  <a:lnTo>
                    <a:pt x="284" y="810"/>
                  </a:lnTo>
                  <a:lnTo>
                    <a:pt x="266" y="806"/>
                  </a:lnTo>
                  <a:lnTo>
                    <a:pt x="248" y="802"/>
                  </a:lnTo>
                  <a:lnTo>
                    <a:pt x="230" y="797"/>
                  </a:lnTo>
                  <a:lnTo>
                    <a:pt x="213" y="791"/>
                  </a:lnTo>
                  <a:lnTo>
                    <a:pt x="196" y="784"/>
                  </a:lnTo>
                  <a:lnTo>
                    <a:pt x="181" y="777"/>
                  </a:lnTo>
                  <a:lnTo>
                    <a:pt x="165" y="767"/>
                  </a:lnTo>
                  <a:lnTo>
                    <a:pt x="151" y="758"/>
                  </a:lnTo>
                  <a:lnTo>
                    <a:pt x="136" y="748"/>
                  </a:lnTo>
                  <a:lnTo>
                    <a:pt x="122" y="738"/>
                  </a:lnTo>
                  <a:lnTo>
                    <a:pt x="109" y="726"/>
                  </a:lnTo>
                  <a:lnTo>
                    <a:pt x="98" y="713"/>
                  </a:lnTo>
                  <a:lnTo>
                    <a:pt x="98" y="713"/>
                  </a:lnTo>
                  <a:lnTo>
                    <a:pt x="86" y="700"/>
                  </a:lnTo>
                  <a:lnTo>
                    <a:pt x="74" y="686"/>
                  </a:lnTo>
                  <a:lnTo>
                    <a:pt x="64" y="672"/>
                  </a:lnTo>
                  <a:lnTo>
                    <a:pt x="55" y="656"/>
                  </a:lnTo>
                  <a:lnTo>
                    <a:pt x="46" y="640"/>
                  </a:lnTo>
                  <a:lnTo>
                    <a:pt x="38" y="625"/>
                  </a:lnTo>
                  <a:lnTo>
                    <a:pt x="30" y="607"/>
                  </a:lnTo>
                  <a:lnTo>
                    <a:pt x="24" y="590"/>
                  </a:lnTo>
                  <a:lnTo>
                    <a:pt x="18" y="572"/>
                  </a:lnTo>
                  <a:lnTo>
                    <a:pt x="13" y="553"/>
                  </a:lnTo>
                  <a:lnTo>
                    <a:pt x="9" y="534"/>
                  </a:lnTo>
                  <a:lnTo>
                    <a:pt x="5" y="513"/>
                  </a:lnTo>
                  <a:lnTo>
                    <a:pt x="3" y="493"/>
                  </a:lnTo>
                  <a:lnTo>
                    <a:pt x="2" y="472"/>
                  </a:lnTo>
                  <a:lnTo>
                    <a:pt x="0" y="450"/>
                  </a:lnTo>
                  <a:lnTo>
                    <a:pt x="0" y="428"/>
                  </a:lnTo>
                  <a:lnTo>
                    <a:pt x="0" y="428"/>
                  </a:lnTo>
                  <a:lnTo>
                    <a:pt x="0" y="403"/>
                  </a:lnTo>
                  <a:lnTo>
                    <a:pt x="2" y="380"/>
                  </a:lnTo>
                  <a:lnTo>
                    <a:pt x="3" y="356"/>
                  </a:lnTo>
                  <a:lnTo>
                    <a:pt x="7" y="334"/>
                  </a:lnTo>
                  <a:lnTo>
                    <a:pt x="9" y="314"/>
                  </a:lnTo>
                  <a:lnTo>
                    <a:pt x="15" y="292"/>
                  </a:lnTo>
                  <a:lnTo>
                    <a:pt x="20" y="272"/>
                  </a:lnTo>
                  <a:lnTo>
                    <a:pt x="25" y="251"/>
                  </a:lnTo>
                  <a:lnTo>
                    <a:pt x="33" y="233"/>
                  </a:lnTo>
                  <a:lnTo>
                    <a:pt x="40" y="214"/>
                  </a:lnTo>
                  <a:lnTo>
                    <a:pt x="48" y="196"/>
                  </a:lnTo>
                  <a:lnTo>
                    <a:pt x="57" y="179"/>
                  </a:lnTo>
                  <a:lnTo>
                    <a:pt x="68" y="162"/>
                  </a:lnTo>
                  <a:lnTo>
                    <a:pt x="78" y="146"/>
                  </a:lnTo>
                  <a:lnTo>
                    <a:pt x="90" y="131"/>
                  </a:lnTo>
                  <a:lnTo>
                    <a:pt x="103" y="116"/>
                  </a:lnTo>
                  <a:lnTo>
                    <a:pt x="103" y="116"/>
                  </a:lnTo>
                  <a:lnTo>
                    <a:pt x="116" y="102"/>
                  </a:lnTo>
                  <a:lnTo>
                    <a:pt x="130" y="89"/>
                  </a:lnTo>
                  <a:lnTo>
                    <a:pt x="144" y="76"/>
                  </a:lnTo>
                  <a:lnTo>
                    <a:pt x="159" y="65"/>
                  </a:lnTo>
                  <a:lnTo>
                    <a:pt x="174" y="54"/>
                  </a:lnTo>
                  <a:lnTo>
                    <a:pt x="190" y="45"/>
                  </a:lnTo>
                  <a:lnTo>
                    <a:pt x="206" y="36"/>
                  </a:lnTo>
                  <a:lnTo>
                    <a:pt x="223" y="28"/>
                  </a:lnTo>
                  <a:lnTo>
                    <a:pt x="240" y="22"/>
                  </a:lnTo>
                  <a:lnTo>
                    <a:pt x="258" y="17"/>
                  </a:lnTo>
                  <a:lnTo>
                    <a:pt x="277" y="11"/>
                  </a:lnTo>
                  <a:lnTo>
                    <a:pt x="296" y="8"/>
                  </a:lnTo>
                  <a:lnTo>
                    <a:pt x="315" y="4"/>
                  </a:lnTo>
                  <a:lnTo>
                    <a:pt x="335" y="1"/>
                  </a:lnTo>
                  <a:lnTo>
                    <a:pt x="356" y="0"/>
                  </a:lnTo>
                  <a:lnTo>
                    <a:pt x="378" y="0"/>
                  </a:lnTo>
                  <a:lnTo>
                    <a:pt x="378" y="0"/>
                  </a:lnTo>
                  <a:lnTo>
                    <a:pt x="397" y="0"/>
                  </a:lnTo>
                  <a:lnTo>
                    <a:pt x="417" y="1"/>
                  </a:lnTo>
                  <a:lnTo>
                    <a:pt x="435" y="4"/>
                  </a:lnTo>
                  <a:lnTo>
                    <a:pt x="454" y="6"/>
                  </a:lnTo>
                  <a:lnTo>
                    <a:pt x="471" y="10"/>
                  </a:lnTo>
                  <a:lnTo>
                    <a:pt x="489" y="14"/>
                  </a:lnTo>
                  <a:lnTo>
                    <a:pt x="506" y="19"/>
                  </a:lnTo>
                  <a:lnTo>
                    <a:pt x="522" y="26"/>
                  </a:lnTo>
                  <a:lnTo>
                    <a:pt x="538" y="33"/>
                  </a:lnTo>
                  <a:lnTo>
                    <a:pt x="553" y="41"/>
                  </a:lnTo>
                  <a:lnTo>
                    <a:pt x="568" y="49"/>
                  </a:lnTo>
                  <a:lnTo>
                    <a:pt x="583" y="59"/>
                  </a:lnTo>
                  <a:lnTo>
                    <a:pt x="596" y="68"/>
                  </a:lnTo>
                  <a:lnTo>
                    <a:pt x="608" y="80"/>
                  </a:lnTo>
                  <a:lnTo>
                    <a:pt x="621" y="92"/>
                  </a:lnTo>
                  <a:lnTo>
                    <a:pt x="634" y="105"/>
                  </a:lnTo>
                  <a:lnTo>
                    <a:pt x="634" y="105"/>
                  </a:lnTo>
                  <a:lnTo>
                    <a:pt x="646" y="118"/>
                  </a:lnTo>
                  <a:lnTo>
                    <a:pt x="656" y="132"/>
                  </a:lnTo>
                  <a:lnTo>
                    <a:pt x="667" y="146"/>
                  </a:lnTo>
                  <a:lnTo>
                    <a:pt x="676" y="162"/>
                  </a:lnTo>
                  <a:lnTo>
                    <a:pt x="685" y="177"/>
                  </a:lnTo>
                  <a:lnTo>
                    <a:pt x="693" y="194"/>
                  </a:lnTo>
                  <a:lnTo>
                    <a:pt x="699" y="211"/>
                  </a:lnTo>
                  <a:lnTo>
                    <a:pt x="706" y="228"/>
                  </a:lnTo>
                  <a:lnTo>
                    <a:pt x="711" y="246"/>
                  </a:lnTo>
                  <a:lnTo>
                    <a:pt x="716" y="264"/>
                  </a:lnTo>
                  <a:lnTo>
                    <a:pt x="720" y="284"/>
                  </a:lnTo>
                  <a:lnTo>
                    <a:pt x="724" y="303"/>
                  </a:lnTo>
                  <a:lnTo>
                    <a:pt x="726" y="324"/>
                  </a:lnTo>
                  <a:lnTo>
                    <a:pt x="728" y="345"/>
                  </a:lnTo>
                  <a:lnTo>
                    <a:pt x="729" y="387"/>
                  </a:lnTo>
                  <a:lnTo>
                    <a:pt x="729" y="387"/>
                  </a:lnTo>
                  <a:lnTo>
                    <a:pt x="729" y="412"/>
                  </a:lnTo>
                  <a:lnTo>
                    <a:pt x="728" y="435"/>
                  </a:lnTo>
                  <a:lnTo>
                    <a:pt x="726" y="459"/>
                  </a:lnTo>
                  <a:lnTo>
                    <a:pt x="724" y="481"/>
                  </a:lnTo>
                  <a:lnTo>
                    <a:pt x="720" y="503"/>
                  </a:lnTo>
                  <a:lnTo>
                    <a:pt x="716" y="524"/>
                  </a:lnTo>
                  <a:lnTo>
                    <a:pt x="711" y="544"/>
                  </a:lnTo>
                  <a:lnTo>
                    <a:pt x="704" y="564"/>
                  </a:lnTo>
                  <a:lnTo>
                    <a:pt x="698" y="583"/>
                  </a:lnTo>
                  <a:lnTo>
                    <a:pt x="691" y="601"/>
                  </a:lnTo>
                  <a:lnTo>
                    <a:pt x="682" y="620"/>
                  </a:lnTo>
                  <a:lnTo>
                    <a:pt x="673" y="638"/>
                  </a:lnTo>
                  <a:lnTo>
                    <a:pt x="664" y="653"/>
                  </a:lnTo>
                  <a:lnTo>
                    <a:pt x="654" y="670"/>
                  </a:lnTo>
                  <a:lnTo>
                    <a:pt x="642" y="686"/>
                  </a:lnTo>
                  <a:lnTo>
                    <a:pt x="631" y="700"/>
                  </a:lnTo>
                  <a:lnTo>
                    <a:pt x="631" y="700"/>
                  </a:lnTo>
                  <a:lnTo>
                    <a:pt x="618" y="714"/>
                  </a:lnTo>
                  <a:lnTo>
                    <a:pt x="605" y="727"/>
                  </a:lnTo>
                  <a:lnTo>
                    <a:pt x="592" y="740"/>
                  </a:lnTo>
                  <a:lnTo>
                    <a:pt x="577" y="752"/>
                  </a:lnTo>
                  <a:lnTo>
                    <a:pt x="562" y="762"/>
                  </a:lnTo>
                  <a:lnTo>
                    <a:pt x="546" y="771"/>
                  </a:lnTo>
                  <a:lnTo>
                    <a:pt x="531" y="780"/>
                  </a:lnTo>
                  <a:lnTo>
                    <a:pt x="515" y="788"/>
                  </a:lnTo>
                  <a:lnTo>
                    <a:pt x="498" y="795"/>
                  </a:lnTo>
                  <a:lnTo>
                    <a:pt x="480" y="800"/>
                  </a:lnTo>
                  <a:lnTo>
                    <a:pt x="462" y="805"/>
                  </a:lnTo>
                  <a:lnTo>
                    <a:pt x="444" y="809"/>
                  </a:lnTo>
                  <a:lnTo>
                    <a:pt x="426" y="813"/>
                  </a:lnTo>
                  <a:lnTo>
                    <a:pt x="406" y="815"/>
                  </a:lnTo>
                  <a:lnTo>
                    <a:pt x="385" y="817"/>
                  </a:lnTo>
                  <a:lnTo>
                    <a:pt x="365" y="817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26"/>
            <p:cNvSpPr>
              <a:spLocks/>
            </p:cNvSpPr>
            <p:nvPr userDrawn="1"/>
          </p:nvSpPr>
          <p:spPr bwMode="auto">
            <a:xfrm>
              <a:off x="5645" y="1252"/>
              <a:ext cx="258" cy="267"/>
            </a:xfrm>
            <a:custGeom>
              <a:avLst/>
              <a:gdLst>
                <a:gd name="T0" fmla="*/ 77 w 774"/>
                <a:gd name="T1" fmla="*/ 99 h 802"/>
                <a:gd name="T2" fmla="*/ 0 w 774"/>
                <a:gd name="T3" fmla="*/ 0 h 802"/>
                <a:gd name="T4" fmla="*/ 326 w 774"/>
                <a:gd name="T5" fmla="*/ 74 h 802"/>
                <a:gd name="T6" fmla="*/ 247 w 774"/>
                <a:gd name="T7" fmla="*/ 503 h 802"/>
                <a:gd name="T8" fmla="*/ 249 w 774"/>
                <a:gd name="T9" fmla="*/ 528 h 802"/>
                <a:gd name="T10" fmla="*/ 253 w 774"/>
                <a:gd name="T11" fmla="*/ 572 h 802"/>
                <a:gd name="T12" fmla="*/ 262 w 774"/>
                <a:gd name="T13" fmla="*/ 610 h 802"/>
                <a:gd name="T14" fmla="*/ 276 w 774"/>
                <a:gd name="T15" fmla="*/ 638 h 802"/>
                <a:gd name="T16" fmla="*/ 285 w 774"/>
                <a:gd name="T17" fmla="*/ 651 h 802"/>
                <a:gd name="T18" fmla="*/ 306 w 774"/>
                <a:gd name="T19" fmla="*/ 671 h 802"/>
                <a:gd name="T20" fmla="*/ 333 w 774"/>
                <a:gd name="T21" fmla="*/ 684 h 802"/>
                <a:gd name="T22" fmla="*/ 365 w 774"/>
                <a:gd name="T23" fmla="*/ 693 h 802"/>
                <a:gd name="T24" fmla="*/ 403 w 774"/>
                <a:gd name="T25" fmla="*/ 695 h 802"/>
                <a:gd name="T26" fmla="*/ 422 w 774"/>
                <a:gd name="T27" fmla="*/ 695 h 802"/>
                <a:gd name="T28" fmla="*/ 457 w 774"/>
                <a:gd name="T29" fmla="*/ 690 h 802"/>
                <a:gd name="T30" fmla="*/ 486 w 774"/>
                <a:gd name="T31" fmla="*/ 680 h 802"/>
                <a:gd name="T32" fmla="*/ 509 w 774"/>
                <a:gd name="T33" fmla="*/ 664 h 802"/>
                <a:gd name="T34" fmla="*/ 518 w 774"/>
                <a:gd name="T35" fmla="*/ 655 h 802"/>
                <a:gd name="T36" fmla="*/ 534 w 774"/>
                <a:gd name="T37" fmla="*/ 631 h 802"/>
                <a:gd name="T38" fmla="*/ 544 w 774"/>
                <a:gd name="T39" fmla="*/ 599 h 802"/>
                <a:gd name="T40" fmla="*/ 551 w 774"/>
                <a:gd name="T41" fmla="*/ 561 h 802"/>
                <a:gd name="T42" fmla="*/ 553 w 774"/>
                <a:gd name="T43" fmla="*/ 514 h 802"/>
                <a:gd name="T44" fmla="*/ 476 w 774"/>
                <a:gd name="T45" fmla="*/ 74 h 802"/>
                <a:gd name="T46" fmla="*/ 774 w 774"/>
                <a:gd name="T47" fmla="*/ 0 h 802"/>
                <a:gd name="T48" fmla="*/ 696 w 774"/>
                <a:gd name="T49" fmla="*/ 99 h 802"/>
                <a:gd name="T50" fmla="*/ 696 w 774"/>
                <a:gd name="T51" fmla="*/ 494 h 802"/>
                <a:gd name="T52" fmla="*/ 693 w 774"/>
                <a:gd name="T53" fmla="*/ 574 h 802"/>
                <a:gd name="T54" fmla="*/ 687 w 774"/>
                <a:gd name="T55" fmla="*/ 628 h 802"/>
                <a:gd name="T56" fmla="*/ 680 w 774"/>
                <a:gd name="T57" fmla="*/ 649 h 802"/>
                <a:gd name="T58" fmla="*/ 664 w 774"/>
                <a:gd name="T59" fmla="*/ 685 h 802"/>
                <a:gd name="T60" fmla="*/ 652 w 774"/>
                <a:gd name="T61" fmla="*/ 701 h 802"/>
                <a:gd name="T62" fmla="*/ 630 w 774"/>
                <a:gd name="T63" fmla="*/ 724 h 802"/>
                <a:gd name="T64" fmla="*/ 605 w 774"/>
                <a:gd name="T65" fmla="*/ 745 h 802"/>
                <a:gd name="T66" fmla="*/ 577 w 774"/>
                <a:gd name="T67" fmla="*/ 762 h 802"/>
                <a:gd name="T68" fmla="*/ 546 w 774"/>
                <a:gd name="T69" fmla="*/ 776 h 802"/>
                <a:gd name="T70" fmla="*/ 529 w 774"/>
                <a:gd name="T71" fmla="*/ 782 h 802"/>
                <a:gd name="T72" fmla="*/ 491 w 774"/>
                <a:gd name="T73" fmla="*/ 791 h 802"/>
                <a:gd name="T74" fmla="*/ 452 w 774"/>
                <a:gd name="T75" fmla="*/ 798 h 802"/>
                <a:gd name="T76" fmla="*/ 409 w 774"/>
                <a:gd name="T77" fmla="*/ 802 h 802"/>
                <a:gd name="T78" fmla="*/ 386 w 774"/>
                <a:gd name="T79" fmla="*/ 802 h 802"/>
                <a:gd name="T80" fmla="*/ 308 w 774"/>
                <a:gd name="T81" fmla="*/ 798 h 802"/>
                <a:gd name="T82" fmla="*/ 243 w 774"/>
                <a:gd name="T83" fmla="*/ 785 h 802"/>
                <a:gd name="T84" fmla="*/ 202 w 774"/>
                <a:gd name="T85" fmla="*/ 771 h 802"/>
                <a:gd name="T86" fmla="*/ 179 w 774"/>
                <a:gd name="T87" fmla="*/ 758 h 802"/>
                <a:gd name="T88" fmla="*/ 158 w 774"/>
                <a:gd name="T89" fmla="*/ 743 h 802"/>
                <a:gd name="T90" fmla="*/ 148 w 774"/>
                <a:gd name="T91" fmla="*/ 736 h 802"/>
                <a:gd name="T92" fmla="*/ 132 w 774"/>
                <a:gd name="T93" fmla="*/ 717 h 802"/>
                <a:gd name="T94" fmla="*/ 116 w 774"/>
                <a:gd name="T95" fmla="*/ 697 h 802"/>
                <a:gd name="T96" fmla="*/ 105 w 774"/>
                <a:gd name="T97" fmla="*/ 673 h 802"/>
                <a:gd name="T98" fmla="*/ 87 w 774"/>
                <a:gd name="T99" fmla="*/ 616 h 802"/>
                <a:gd name="T100" fmla="*/ 77 w 774"/>
                <a:gd name="T101" fmla="*/ 549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74" h="802">
                  <a:moveTo>
                    <a:pt x="77" y="510"/>
                  </a:moveTo>
                  <a:lnTo>
                    <a:pt x="77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326" y="0"/>
                  </a:lnTo>
                  <a:lnTo>
                    <a:pt x="326" y="74"/>
                  </a:lnTo>
                  <a:lnTo>
                    <a:pt x="247" y="99"/>
                  </a:lnTo>
                  <a:lnTo>
                    <a:pt x="247" y="503"/>
                  </a:lnTo>
                  <a:lnTo>
                    <a:pt x="247" y="503"/>
                  </a:lnTo>
                  <a:lnTo>
                    <a:pt x="249" y="528"/>
                  </a:lnTo>
                  <a:lnTo>
                    <a:pt x="250" y="551"/>
                  </a:lnTo>
                  <a:lnTo>
                    <a:pt x="253" y="572"/>
                  </a:lnTo>
                  <a:lnTo>
                    <a:pt x="256" y="592"/>
                  </a:lnTo>
                  <a:lnTo>
                    <a:pt x="262" y="610"/>
                  </a:lnTo>
                  <a:lnTo>
                    <a:pt x="268" y="625"/>
                  </a:lnTo>
                  <a:lnTo>
                    <a:pt x="276" y="638"/>
                  </a:lnTo>
                  <a:lnTo>
                    <a:pt x="285" y="651"/>
                  </a:lnTo>
                  <a:lnTo>
                    <a:pt x="285" y="651"/>
                  </a:lnTo>
                  <a:lnTo>
                    <a:pt x="294" y="662"/>
                  </a:lnTo>
                  <a:lnTo>
                    <a:pt x="306" y="671"/>
                  </a:lnTo>
                  <a:lnTo>
                    <a:pt x="319" y="679"/>
                  </a:lnTo>
                  <a:lnTo>
                    <a:pt x="333" y="684"/>
                  </a:lnTo>
                  <a:lnTo>
                    <a:pt x="349" y="689"/>
                  </a:lnTo>
                  <a:lnTo>
                    <a:pt x="365" y="693"/>
                  </a:lnTo>
                  <a:lnTo>
                    <a:pt x="384" y="695"/>
                  </a:lnTo>
                  <a:lnTo>
                    <a:pt x="403" y="695"/>
                  </a:lnTo>
                  <a:lnTo>
                    <a:pt x="403" y="695"/>
                  </a:lnTo>
                  <a:lnTo>
                    <a:pt x="422" y="695"/>
                  </a:lnTo>
                  <a:lnTo>
                    <a:pt x="441" y="693"/>
                  </a:lnTo>
                  <a:lnTo>
                    <a:pt x="457" y="690"/>
                  </a:lnTo>
                  <a:lnTo>
                    <a:pt x="473" y="685"/>
                  </a:lnTo>
                  <a:lnTo>
                    <a:pt x="486" y="680"/>
                  </a:lnTo>
                  <a:lnTo>
                    <a:pt x="499" y="672"/>
                  </a:lnTo>
                  <a:lnTo>
                    <a:pt x="509" y="664"/>
                  </a:lnTo>
                  <a:lnTo>
                    <a:pt x="518" y="655"/>
                  </a:lnTo>
                  <a:lnTo>
                    <a:pt x="518" y="655"/>
                  </a:lnTo>
                  <a:lnTo>
                    <a:pt x="526" y="644"/>
                  </a:lnTo>
                  <a:lnTo>
                    <a:pt x="534" y="631"/>
                  </a:lnTo>
                  <a:lnTo>
                    <a:pt x="539" y="616"/>
                  </a:lnTo>
                  <a:lnTo>
                    <a:pt x="544" y="599"/>
                  </a:lnTo>
                  <a:lnTo>
                    <a:pt x="548" y="580"/>
                  </a:lnTo>
                  <a:lnTo>
                    <a:pt x="551" y="561"/>
                  </a:lnTo>
                  <a:lnTo>
                    <a:pt x="552" y="538"/>
                  </a:lnTo>
                  <a:lnTo>
                    <a:pt x="553" y="514"/>
                  </a:lnTo>
                  <a:lnTo>
                    <a:pt x="553" y="99"/>
                  </a:lnTo>
                  <a:lnTo>
                    <a:pt x="476" y="74"/>
                  </a:lnTo>
                  <a:lnTo>
                    <a:pt x="476" y="0"/>
                  </a:lnTo>
                  <a:lnTo>
                    <a:pt x="774" y="0"/>
                  </a:lnTo>
                  <a:lnTo>
                    <a:pt x="774" y="74"/>
                  </a:lnTo>
                  <a:lnTo>
                    <a:pt x="696" y="99"/>
                  </a:lnTo>
                  <a:lnTo>
                    <a:pt x="696" y="494"/>
                  </a:lnTo>
                  <a:lnTo>
                    <a:pt x="696" y="494"/>
                  </a:lnTo>
                  <a:lnTo>
                    <a:pt x="696" y="537"/>
                  </a:lnTo>
                  <a:lnTo>
                    <a:pt x="693" y="574"/>
                  </a:lnTo>
                  <a:lnTo>
                    <a:pt x="691" y="605"/>
                  </a:lnTo>
                  <a:lnTo>
                    <a:pt x="687" y="628"/>
                  </a:lnTo>
                  <a:lnTo>
                    <a:pt x="687" y="628"/>
                  </a:lnTo>
                  <a:lnTo>
                    <a:pt x="680" y="649"/>
                  </a:lnTo>
                  <a:lnTo>
                    <a:pt x="673" y="668"/>
                  </a:lnTo>
                  <a:lnTo>
                    <a:pt x="664" y="685"/>
                  </a:lnTo>
                  <a:lnTo>
                    <a:pt x="652" y="701"/>
                  </a:lnTo>
                  <a:lnTo>
                    <a:pt x="652" y="701"/>
                  </a:lnTo>
                  <a:lnTo>
                    <a:pt x="642" y="712"/>
                  </a:lnTo>
                  <a:lnTo>
                    <a:pt x="630" y="724"/>
                  </a:lnTo>
                  <a:lnTo>
                    <a:pt x="618" y="734"/>
                  </a:lnTo>
                  <a:lnTo>
                    <a:pt x="605" y="745"/>
                  </a:lnTo>
                  <a:lnTo>
                    <a:pt x="591" y="754"/>
                  </a:lnTo>
                  <a:lnTo>
                    <a:pt x="577" y="762"/>
                  </a:lnTo>
                  <a:lnTo>
                    <a:pt x="561" y="769"/>
                  </a:lnTo>
                  <a:lnTo>
                    <a:pt x="546" y="776"/>
                  </a:lnTo>
                  <a:lnTo>
                    <a:pt x="546" y="776"/>
                  </a:lnTo>
                  <a:lnTo>
                    <a:pt x="529" y="782"/>
                  </a:lnTo>
                  <a:lnTo>
                    <a:pt x="511" y="787"/>
                  </a:lnTo>
                  <a:lnTo>
                    <a:pt x="491" y="791"/>
                  </a:lnTo>
                  <a:lnTo>
                    <a:pt x="472" y="795"/>
                  </a:lnTo>
                  <a:lnTo>
                    <a:pt x="452" y="798"/>
                  </a:lnTo>
                  <a:lnTo>
                    <a:pt x="432" y="800"/>
                  </a:lnTo>
                  <a:lnTo>
                    <a:pt x="409" y="802"/>
                  </a:lnTo>
                  <a:lnTo>
                    <a:pt x="386" y="802"/>
                  </a:lnTo>
                  <a:lnTo>
                    <a:pt x="386" y="802"/>
                  </a:lnTo>
                  <a:lnTo>
                    <a:pt x="346" y="800"/>
                  </a:lnTo>
                  <a:lnTo>
                    <a:pt x="308" y="798"/>
                  </a:lnTo>
                  <a:lnTo>
                    <a:pt x="275" y="793"/>
                  </a:lnTo>
                  <a:lnTo>
                    <a:pt x="243" y="785"/>
                  </a:lnTo>
                  <a:lnTo>
                    <a:pt x="215" y="776"/>
                  </a:lnTo>
                  <a:lnTo>
                    <a:pt x="202" y="771"/>
                  </a:lnTo>
                  <a:lnTo>
                    <a:pt x="190" y="764"/>
                  </a:lnTo>
                  <a:lnTo>
                    <a:pt x="179" y="758"/>
                  </a:lnTo>
                  <a:lnTo>
                    <a:pt x="167" y="751"/>
                  </a:lnTo>
                  <a:lnTo>
                    <a:pt x="158" y="743"/>
                  </a:lnTo>
                  <a:lnTo>
                    <a:pt x="148" y="736"/>
                  </a:lnTo>
                  <a:lnTo>
                    <a:pt x="148" y="736"/>
                  </a:lnTo>
                  <a:lnTo>
                    <a:pt x="140" y="727"/>
                  </a:lnTo>
                  <a:lnTo>
                    <a:pt x="132" y="717"/>
                  </a:lnTo>
                  <a:lnTo>
                    <a:pt x="124" y="707"/>
                  </a:lnTo>
                  <a:lnTo>
                    <a:pt x="116" y="697"/>
                  </a:lnTo>
                  <a:lnTo>
                    <a:pt x="111" y="685"/>
                  </a:lnTo>
                  <a:lnTo>
                    <a:pt x="105" y="673"/>
                  </a:lnTo>
                  <a:lnTo>
                    <a:pt x="94" y="646"/>
                  </a:lnTo>
                  <a:lnTo>
                    <a:pt x="87" y="616"/>
                  </a:lnTo>
                  <a:lnTo>
                    <a:pt x="81" y="584"/>
                  </a:lnTo>
                  <a:lnTo>
                    <a:pt x="77" y="549"/>
                  </a:lnTo>
                  <a:lnTo>
                    <a:pt x="77" y="5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27"/>
            <p:cNvSpPr>
              <a:spLocks/>
            </p:cNvSpPr>
            <p:nvPr userDrawn="1"/>
          </p:nvSpPr>
          <p:spPr bwMode="auto">
            <a:xfrm>
              <a:off x="5645" y="1252"/>
              <a:ext cx="258" cy="267"/>
            </a:xfrm>
            <a:custGeom>
              <a:avLst/>
              <a:gdLst>
                <a:gd name="T0" fmla="*/ 77 w 774"/>
                <a:gd name="T1" fmla="*/ 99 h 802"/>
                <a:gd name="T2" fmla="*/ 0 w 774"/>
                <a:gd name="T3" fmla="*/ 0 h 802"/>
                <a:gd name="T4" fmla="*/ 326 w 774"/>
                <a:gd name="T5" fmla="*/ 74 h 802"/>
                <a:gd name="T6" fmla="*/ 247 w 774"/>
                <a:gd name="T7" fmla="*/ 503 h 802"/>
                <a:gd name="T8" fmla="*/ 249 w 774"/>
                <a:gd name="T9" fmla="*/ 528 h 802"/>
                <a:gd name="T10" fmla="*/ 253 w 774"/>
                <a:gd name="T11" fmla="*/ 572 h 802"/>
                <a:gd name="T12" fmla="*/ 262 w 774"/>
                <a:gd name="T13" fmla="*/ 610 h 802"/>
                <a:gd name="T14" fmla="*/ 276 w 774"/>
                <a:gd name="T15" fmla="*/ 638 h 802"/>
                <a:gd name="T16" fmla="*/ 285 w 774"/>
                <a:gd name="T17" fmla="*/ 651 h 802"/>
                <a:gd name="T18" fmla="*/ 306 w 774"/>
                <a:gd name="T19" fmla="*/ 671 h 802"/>
                <a:gd name="T20" fmla="*/ 333 w 774"/>
                <a:gd name="T21" fmla="*/ 684 h 802"/>
                <a:gd name="T22" fmla="*/ 365 w 774"/>
                <a:gd name="T23" fmla="*/ 693 h 802"/>
                <a:gd name="T24" fmla="*/ 403 w 774"/>
                <a:gd name="T25" fmla="*/ 695 h 802"/>
                <a:gd name="T26" fmla="*/ 422 w 774"/>
                <a:gd name="T27" fmla="*/ 695 h 802"/>
                <a:gd name="T28" fmla="*/ 457 w 774"/>
                <a:gd name="T29" fmla="*/ 690 h 802"/>
                <a:gd name="T30" fmla="*/ 486 w 774"/>
                <a:gd name="T31" fmla="*/ 680 h 802"/>
                <a:gd name="T32" fmla="*/ 509 w 774"/>
                <a:gd name="T33" fmla="*/ 664 h 802"/>
                <a:gd name="T34" fmla="*/ 518 w 774"/>
                <a:gd name="T35" fmla="*/ 655 h 802"/>
                <a:gd name="T36" fmla="*/ 534 w 774"/>
                <a:gd name="T37" fmla="*/ 631 h 802"/>
                <a:gd name="T38" fmla="*/ 544 w 774"/>
                <a:gd name="T39" fmla="*/ 599 h 802"/>
                <a:gd name="T40" fmla="*/ 551 w 774"/>
                <a:gd name="T41" fmla="*/ 561 h 802"/>
                <a:gd name="T42" fmla="*/ 553 w 774"/>
                <a:gd name="T43" fmla="*/ 514 h 802"/>
                <a:gd name="T44" fmla="*/ 476 w 774"/>
                <a:gd name="T45" fmla="*/ 74 h 802"/>
                <a:gd name="T46" fmla="*/ 774 w 774"/>
                <a:gd name="T47" fmla="*/ 0 h 802"/>
                <a:gd name="T48" fmla="*/ 696 w 774"/>
                <a:gd name="T49" fmla="*/ 99 h 802"/>
                <a:gd name="T50" fmla="*/ 696 w 774"/>
                <a:gd name="T51" fmla="*/ 494 h 802"/>
                <a:gd name="T52" fmla="*/ 693 w 774"/>
                <a:gd name="T53" fmla="*/ 574 h 802"/>
                <a:gd name="T54" fmla="*/ 687 w 774"/>
                <a:gd name="T55" fmla="*/ 628 h 802"/>
                <a:gd name="T56" fmla="*/ 680 w 774"/>
                <a:gd name="T57" fmla="*/ 649 h 802"/>
                <a:gd name="T58" fmla="*/ 664 w 774"/>
                <a:gd name="T59" fmla="*/ 685 h 802"/>
                <a:gd name="T60" fmla="*/ 652 w 774"/>
                <a:gd name="T61" fmla="*/ 701 h 802"/>
                <a:gd name="T62" fmla="*/ 630 w 774"/>
                <a:gd name="T63" fmla="*/ 724 h 802"/>
                <a:gd name="T64" fmla="*/ 605 w 774"/>
                <a:gd name="T65" fmla="*/ 745 h 802"/>
                <a:gd name="T66" fmla="*/ 577 w 774"/>
                <a:gd name="T67" fmla="*/ 762 h 802"/>
                <a:gd name="T68" fmla="*/ 546 w 774"/>
                <a:gd name="T69" fmla="*/ 776 h 802"/>
                <a:gd name="T70" fmla="*/ 529 w 774"/>
                <a:gd name="T71" fmla="*/ 782 h 802"/>
                <a:gd name="T72" fmla="*/ 491 w 774"/>
                <a:gd name="T73" fmla="*/ 791 h 802"/>
                <a:gd name="T74" fmla="*/ 452 w 774"/>
                <a:gd name="T75" fmla="*/ 798 h 802"/>
                <a:gd name="T76" fmla="*/ 409 w 774"/>
                <a:gd name="T77" fmla="*/ 802 h 802"/>
                <a:gd name="T78" fmla="*/ 386 w 774"/>
                <a:gd name="T79" fmla="*/ 802 h 802"/>
                <a:gd name="T80" fmla="*/ 308 w 774"/>
                <a:gd name="T81" fmla="*/ 798 h 802"/>
                <a:gd name="T82" fmla="*/ 243 w 774"/>
                <a:gd name="T83" fmla="*/ 785 h 802"/>
                <a:gd name="T84" fmla="*/ 202 w 774"/>
                <a:gd name="T85" fmla="*/ 771 h 802"/>
                <a:gd name="T86" fmla="*/ 179 w 774"/>
                <a:gd name="T87" fmla="*/ 758 h 802"/>
                <a:gd name="T88" fmla="*/ 158 w 774"/>
                <a:gd name="T89" fmla="*/ 743 h 802"/>
                <a:gd name="T90" fmla="*/ 148 w 774"/>
                <a:gd name="T91" fmla="*/ 736 h 802"/>
                <a:gd name="T92" fmla="*/ 132 w 774"/>
                <a:gd name="T93" fmla="*/ 717 h 802"/>
                <a:gd name="T94" fmla="*/ 116 w 774"/>
                <a:gd name="T95" fmla="*/ 697 h 802"/>
                <a:gd name="T96" fmla="*/ 105 w 774"/>
                <a:gd name="T97" fmla="*/ 673 h 802"/>
                <a:gd name="T98" fmla="*/ 87 w 774"/>
                <a:gd name="T99" fmla="*/ 616 h 802"/>
                <a:gd name="T100" fmla="*/ 77 w 774"/>
                <a:gd name="T101" fmla="*/ 549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74" h="802">
                  <a:moveTo>
                    <a:pt x="77" y="510"/>
                  </a:moveTo>
                  <a:lnTo>
                    <a:pt x="77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326" y="0"/>
                  </a:lnTo>
                  <a:lnTo>
                    <a:pt x="326" y="74"/>
                  </a:lnTo>
                  <a:lnTo>
                    <a:pt x="247" y="99"/>
                  </a:lnTo>
                  <a:lnTo>
                    <a:pt x="247" y="503"/>
                  </a:lnTo>
                  <a:lnTo>
                    <a:pt x="247" y="503"/>
                  </a:lnTo>
                  <a:lnTo>
                    <a:pt x="249" y="528"/>
                  </a:lnTo>
                  <a:lnTo>
                    <a:pt x="250" y="551"/>
                  </a:lnTo>
                  <a:lnTo>
                    <a:pt x="253" y="572"/>
                  </a:lnTo>
                  <a:lnTo>
                    <a:pt x="256" y="592"/>
                  </a:lnTo>
                  <a:lnTo>
                    <a:pt x="262" y="610"/>
                  </a:lnTo>
                  <a:lnTo>
                    <a:pt x="268" y="625"/>
                  </a:lnTo>
                  <a:lnTo>
                    <a:pt x="276" y="638"/>
                  </a:lnTo>
                  <a:lnTo>
                    <a:pt x="285" y="651"/>
                  </a:lnTo>
                  <a:lnTo>
                    <a:pt x="285" y="651"/>
                  </a:lnTo>
                  <a:lnTo>
                    <a:pt x="294" y="662"/>
                  </a:lnTo>
                  <a:lnTo>
                    <a:pt x="306" y="671"/>
                  </a:lnTo>
                  <a:lnTo>
                    <a:pt x="319" y="679"/>
                  </a:lnTo>
                  <a:lnTo>
                    <a:pt x="333" y="684"/>
                  </a:lnTo>
                  <a:lnTo>
                    <a:pt x="349" y="689"/>
                  </a:lnTo>
                  <a:lnTo>
                    <a:pt x="365" y="693"/>
                  </a:lnTo>
                  <a:lnTo>
                    <a:pt x="384" y="695"/>
                  </a:lnTo>
                  <a:lnTo>
                    <a:pt x="403" y="695"/>
                  </a:lnTo>
                  <a:lnTo>
                    <a:pt x="403" y="695"/>
                  </a:lnTo>
                  <a:lnTo>
                    <a:pt x="422" y="695"/>
                  </a:lnTo>
                  <a:lnTo>
                    <a:pt x="441" y="693"/>
                  </a:lnTo>
                  <a:lnTo>
                    <a:pt x="457" y="690"/>
                  </a:lnTo>
                  <a:lnTo>
                    <a:pt x="473" y="685"/>
                  </a:lnTo>
                  <a:lnTo>
                    <a:pt x="486" y="680"/>
                  </a:lnTo>
                  <a:lnTo>
                    <a:pt x="499" y="672"/>
                  </a:lnTo>
                  <a:lnTo>
                    <a:pt x="509" y="664"/>
                  </a:lnTo>
                  <a:lnTo>
                    <a:pt x="518" y="655"/>
                  </a:lnTo>
                  <a:lnTo>
                    <a:pt x="518" y="655"/>
                  </a:lnTo>
                  <a:lnTo>
                    <a:pt x="526" y="644"/>
                  </a:lnTo>
                  <a:lnTo>
                    <a:pt x="534" y="631"/>
                  </a:lnTo>
                  <a:lnTo>
                    <a:pt x="539" y="616"/>
                  </a:lnTo>
                  <a:lnTo>
                    <a:pt x="544" y="599"/>
                  </a:lnTo>
                  <a:lnTo>
                    <a:pt x="548" y="580"/>
                  </a:lnTo>
                  <a:lnTo>
                    <a:pt x="551" y="561"/>
                  </a:lnTo>
                  <a:lnTo>
                    <a:pt x="552" y="538"/>
                  </a:lnTo>
                  <a:lnTo>
                    <a:pt x="553" y="514"/>
                  </a:lnTo>
                  <a:lnTo>
                    <a:pt x="553" y="99"/>
                  </a:lnTo>
                  <a:lnTo>
                    <a:pt x="476" y="74"/>
                  </a:lnTo>
                  <a:lnTo>
                    <a:pt x="476" y="0"/>
                  </a:lnTo>
                  <a:lnTo>
                    <a:pt x="774" y="0"/>
                  </a:lnTo>
                  <a:lnTo>
                    <a:pt x="774" y="74"/>
                  </a:lnTo>
                  <a:lnTo>
                    <a:pt x="696" y="99"/>
                  </a:lnTo>
                  <a:lnTo>
                    <a:pt x="696" y="494"/>
                  </a:lnTo>
                  <a:lnTo>
                    <a:pt x="696" y="494"/>
                  </a:lnTo>
                  <a:lnTo>
                    <a:pt x="696" y="537"/>
                  </a:lnTo>
                  <a:lnTo>
                    <a:pt x="693" y="574"/>
                  </a:lnTo>
                  <a:lnTo>
                    <a:pt x="691" y="605"/>
                  </a:lnTo>
                  <a:lnTo>
                    <a:pt x="687" y="628"/>
                  </a:lnTo>
                  <a:lnTo>
                    <a:pt x="687" y="628"/>
                  </a:lnTo>
                  <a:lnTo>
                    <a:pt x="680" y="649"/>
                  </a:lnTo>
                  <a:lnTo>
                    <a:pt x="673" y="668"/>
                  </a:lnTo>
                  <a:lnTo>
                    <a:pt x="664" y="685"/>
                  </a:lnTo>
                  <a:lnTo>
                    <a:pt x="652" y="701"/>
                  </a:lnTo>
                  <a:lnTo>
                    <a:pt x="652" y="701"/>
                  </a:lnTo>
                  <a:lnTo>
                    <a:pt x="642" y="712"/>
                  </a:lnTo>
                  <a:lnTo>
                    <a:pt x="630" y="724"/>
                  </a:lnTo>
                  <a:lnTo>
                    <a:pt x="618" y="734"/>
                  </a:lnTo>
                  <a:lnTo>
                    <a:pt x="605" y="745"/>
                  </a:lnTo>
                  <a:lnTo>
                    <a:pt x="591" y="754"/>
                  </a:lnTo>
                  <a:lnTo>
                    <a:pt x="577" y="762"/>
                  </a:lnTo>
                  <a:lnTo>
                    <a:pt x="561" y="769"/>
                  </a:lnTo>
                  <a:lnTo>
                    <a:pt x="546" y="776"/>
                  </a:lnTo>
                  <a:lnTo>
                    <a:pt x="546" y="776"/>
                  </a:lnTo>
                  <a:lnTo>
                    <a:pt x="529" y="782"/>
                  </a:lnTo>
                  <a:lnTo>
                    <a:pt x="511" y="787"/>
                  </a:lnTo>
                  <a:lnTo>
                    <a:pt x="491" y="791"/>
                  </a:lnTo>
                  <a:lnTo>
                    <a:pt x="472" y="795"/>
                  </a:lnTo>
                  <a:lnTo>
                    <a:pt x="452" y="798"/>
                  </a:lnTo>
                  <a:lnTo>
                    <a:pt x="432" y="800"/>
                  </a:lnTo>
                  <a:lnTo>
                    <a:pt x="409" y="802"/>
                  </a:lnTo>
                  <a:lnTo>
                    <a:pt x="386" y="802"/>
                  </a:lnTo>
                  <a:lnTo>
                    <a:pt x="386" y="802"/>
                  </a:lnTo>
                  <a:lnTo>
                    <a:pt x="346" y="800"/>
                  </a:lnTo>
                  <a:lnTo>
                    <a:pt x="308" y="798"/>
                  </a:lnTo>
                  <a:lnTo>
                    <a:pt x="275" y="793"/>
                  </a:lnTo>
                  <a:lnTo>
                    <a:pt x="243" y="785"/>
                  </a:lnTo>
                  <a:lnTo>
                    <a:pt x="215" y="776"/>
                  </a:lnTo>
                  <a:lnTo>
                    <a:pt x="202" y="771"/>
                  </a:lnTo>
                  <a:lnTo>
                    <a:pt x="190" y="764"/>
                  </a:lnTo>
                  <a:lnTo>
                    <a:pt x="179" y="758"/>
                  </a:lnTo>
                  <a:lnTo>
                    <a:pt x="167" y="751"/>
                  </a:lnTo>
                  <a:lnTo>
                    <a:pt x="158" y="743"/>
                  </a:lnTo>
                  <a:lnTo>
                    <a:pt x="148" y="736"/>
                  </a:lnTo>
                  <a:lnTo>
                    <a:pt x="148" y="736"/>
                  </a:lnTo>
                  <a:lnTo>
                    <a:pt x="140" y="727"/>
                  </a:lnTo>
                  <a:lnTo>
                    <a:pt x="132" y="717"/>
                  </a:lnTo>
                  <a:lnTo>
                    <a:pt x="124" y="707"/>
                  </a:lnTo>
                  <a:lnTo>
                    <a:pt x="116" y="697"/>
                  </a:lnTo>
                  <a:lnTo>
                    <a:pt x="111" y="685"/>
                  </a:lnTo>
                  <a:lnTo>
                    <a:pt x="105" y="673"/>
                  </a:lnTo>
                  <a:lnTo>
                    <a:pt x="94" y="646"/>
                  </a:lnTo>
                  <a:lnTo>
                    <a:pt x="87" y="616"/>
                  </a:lnTo>
                  <a:lnTo>
                    <a:pt x="81" y="584"/>
                  </a:lnTo>
                  <a:lnTo>
                    <a:pt x="77" y="549"/>
                  </a:lnTo>
                  <a:lnTo>
                    <a:pt x="77" y="51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28"/>
            <p:cNvSpPr>
              <a:spLocks/>
            </p:cNvSpPr>
            <p:nvPr userDrawn="1"/>
          </p:nvSpPr>
          <p:spPr bwMode="auto">
            <a:xfrm>
              <a:off x="5423" y="1252"/>
              <a:ext cx="192" cy="262"/>
            </a:xfrm>
            <a:custGeom>
              <a:avLst/>
              <a:gdLst>
                <a:gd name="T0" fmla="*/ 575 w 575"/>
                <a:gd name="T1" fmla="*/ 786 h 786"/>
                <a:gd name="T2" fmla="*/ 0 w 575"/>
                <a:gd name="T3" fmla="*/ 786 h 786"/>
                <a:gd name="T4" fmla="*/ 0 w 575"/>
                <a:gd name="T5" fmla="*/ 711 h 786"/>
                <a:gd name="T6" fmla="*/ 78 w 575"/>
                <a:gd name="T7" fmla="*/ 688 h 786"/>
                <a:gd name="T8" fmla="*/ 78 w 575"/>
                <a:gd name="T9" fmla="*/ 99 h 786"/>
                <a:gd name="T10" fmla="*/ 0 w 575"/>
                <a:gd name="T11" fmla="*/ 74 h 786"/>
                <a:gd name="T12" fmla="*/ 0 w 575"/>
                <a:gd name="T13" fmla="*/ 0 h 786"/>
                <a:gd name="T14" fmla="*/ 326 w 575"/>
                <a:gd name="T15" fmla="*/ 0 h 786"/>
                <a:gd name="T16" fmla="*/ 326 w 575"/>
                <a:gd name="T17" fmla="*/ 74 h 786"/>
                <a:gd name="T18" fmla="*/ 248 w 575"/>
                <a:gd name="T19" fmla="*/ 99 h 786"/>
                <a:gd name="T20" fmla="*/ 248 w 575"/>
                <a:gd name="T21" fmla="*/ 688 h 786"/>
                <a:gd name="T22" fmla="*/ 400 w 575"/>
                <a:gd name="T23" fmla="*/ 688 h 786"/>
                <a:gd name="T24" fmla="*/ 441 w 575"/>
                <a:gd name="T25" fmla="*/ 585 h 786"/>
                <a:gd name="T26" fmla="*/ 575 w 575"/>
                <a:gd name="T27" fmla="*/ 585 h 786"/>
                <a:gd name="T28" fmla="*/ 575 w 575"/>
                <a:gd name="T29" fmla="*/ 786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5" h="786">
                  <a:moveTo>
                    <a:pt x="575" y="786"/>
                  </a:moveTo>
                  <a:lnTo>
                    <a:pt x="0" y="786"/>
                  </a:lnTo>
                  <a:lnTo>
                    <a:pt x="0" y="711"/>
                  </a:lnTo>
                  <a:lnTo>
                    <a:pt x="78" y="688"/>
                  </a:lnTo>
                  <a:lnTo>
                    <a:pt x="78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326" y="0"/>
                  </a:lnTo>
                  <a:lnTo>
                    <a:pt x="326" y="74"/>
                  </a:lnTo>
                  <a:lnTo>
                    <a:pt x="248" y="99"/>
                  </a:lnTo>
                  <a:lnTo>
                    <a:pt x="248" y="688"/>
                  </a:lnTo>
                  <a:lnTo>
                    <a:pt x="400" y="688"/>
                  </a:lnTo>
                  <a:lnTo>
                    <a:pt x="441" y="585"/>
                  </a:lnTo>
                  <a:lnTo>
                    <a:pt x="575" y="585"/>
                  </a:lnTo>
                  <a:lnTo>
                    <a:pt x="575" y="78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29"/>
            <p:cNvSpPr>
              <a:spLocks/>
            </p:cNvSpPr>
            <p:nvPr userDrawn="1"/>
          </p:nvSpPr>
          <p:spPr bwMode="auto">
            <a:xfrm>
              <a:off x="5423" y="1252"/>
              <a:ext cx="192" cy="262"/>
            </a:xfrm>
            <a:custGeom>
              <a:avLst/>
              <a:gdLst>
                <a:gd name="T0" fmla="*/ 575 w 575"/>
                <a:gd name="T1" fmla="*/ 786 h 786"/>
                <a:gd name="T2" fmla="*/ 0 w 575"/>
                <a:gd name="T3" fmla="*/ 786 h 786"/>
                <a:gd name="T4" fmla="*/ 0 w 575"/>
                <a:gd name="T5" fmla="*/ 711 h 786"/>
                <a:gd name="T6" fmla="*/ 78 w 575"/>
                <a:gd name="T7" fmla="*/ 688 h 786"/>
                <a:gd name="T8" fmla="*/ 78 w 575"/>
                <a:gd name="T9" fmla="*/ 99 h 786"/>
                <a:gd name="T10" fmla="*/ 0 w 575"/>
                <a:gd name="T11" fmla="*/ 74 h 786"/>
                <a:gd name="T12" fmla="*/ 0 w 575"/>
                <a:gd name="T13" fmla="*/ 0 h 786"/>
                <a:gd name="T14" fmla="*/ 326 w 575"/>
                <a:gd name="T15" fmla="*/ 0 h 786"/>
                <a:gd name="T16" fmla="*/ 326 w 575"/>
                <a:gd name="T17" fmla="*/ 74 h 786"/>
                <a:gd name="T18" fmla="*/ 248 w 575"/>
                <a:gd name="T19" fmla="*/ 99 h 786"/>
                <a:gd name="T20" fmla="*/ 248 w 575"/>
                <a:gd name="T21" fmla="*/ 688 h 786"/>
                <a:gd name="T22" fmla="*/ 400 w 575"/>
                <a:gd name="T23" fmla="*/ 688 h 786"/>
                <a:gd name="T24" fmla="*/ 441 w 575"/>
                <a:gd name="T25" fmla="*/ 585 h 786"/>
                <a:gd name="T26" fmla="*/ 575 w 575"/>
                <a:gd name="T27" fmla="*/ 585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5" h="786">
                  <a:moveTo>
                    <a:pt x="575" y="786"/>
                  </a:moveTo>
                  <a:lnTo>
                    <a:pt x="0" y="786"/>
                  </a:lnTo>
                  <a:lnTo>
                    <a:pt x="0" y="711"/>
                  </a:lnTo>
                  <a:lnTo>
                    <a:pt x="78" y="688"/>
                  </a:lnTo>
                  <a:lnTo>
                    <a:pt x="78" y="99"/>
                  </a:lnTo>
                  <a:lnTo>
                    <a:pt x="0" y="74"/>
                  </a:lnTo>
                  <a:lnTo>
                    <a:pt x="0" y="0"/>
                  </a:lnTo>
                  <a:lnTo>
                    <a:pt x="326" y="0"/>
                  </a:lnTo>
                  <a:lnTo>
                    <a:pt x="326" y="74"/>
                  </a:lnTo>
                  <a:lnTo>
                    <a:pt x="248" y="99"/>
                  </a:lnTo>
                  <a:lnTo>
                    <a:pt x="248" y="688"/>
                  </a:lnTo>
                  <a:lnTo>
                    <a:pt x="400" y="688"/>
                  </a:lnTo>
                  <a:lnTo>
                    <a:pt x="441" y="585"/>
                  </a:lnTo>
                  <a:lnTo>
                    <a:pt x="575" y="585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0"/>
            <p:cNvSpPr>
              <a:spLocks/>
            </p:cNvSpPr>
            <p:nvPr userDrawn="1"/>
          </p:nvSpPr>
          <p:spPr bwMode="auto">
            <a:xfrm>
              <a:off x="5172" y="1255"/>
              <a:ext cx="214" cy="265"/>
            </a:xfrm>
            <a:custGeom>
              <a:avLst/>
              <a:gdLst>
                <a:gd name="T0" fmla="*/ 0 w 641"/>
                <a:gd name="T1" fmla="*/ 395 h 795"/>
                <a:gd name="T2" fmla="*/ 402 w 641"/>
                <a:gd name="T3" fmla="*/ 0 h 795"/>
                <a:gd name="T4" fmla="*/ 639 w 641"/>
                <a:gd name="T5" fmla="*/ 0 h 795"/>
                <a:gd name="T6" fmla="*/ 236 w 641"/>
                <a:gd name="T7" fmla="*/ 393 h 795"/>
                <a:gd name="T8" fmla="*/ 641 w 641"/>
                <a:gd name="T9" fmla="*/ 795 h 795"/>
                <a:gd name="T10" fmla="*/ 402 w 641"/>
                <a:gd name="T11" fmla="*/ 795 h 795"/>
                <a:gd name="T12" fmla="*/ 0 w 641"/>
                <a:gd name="T13" fmla="*/ 395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1" h="795">
                  <a:moveTo>
                    <a:pt x="0" y="395"/>
                  </a:moveTo>
                  <a:lnTo>
                    <a:pt x="402" y="0"/>
                  </a:lnTo>
                  <a:lnTo>
                    <a:pt x="639" y="0"/>
                  </a:lnTo>
                  <a:lnTo>
                    <a:pt x="236" y="393"/>
                  </a:lnTo>
                  <a:lnTo>
                    <a:pt x="641" y="795"/>
                  </a:lnTo>
                  <a:lnTo>
                    <a:pt x="402" y="795"/>
                  </a:lnTo>
                  <a:lnTo>
                    <a:pt x="0" y="39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31"/>
            <p:cNvSpPr>
              <a:spLocks/>
            </p:cNvSpPr>
            <p:nvPr userDrawn="1"/>
          </p:nvSpPr>
          <p:spPr bwMode="auto">
            <a:xfrm>
              <a:off x="5529" y="1659"/>
              <a:ext cx="265" cy="213"/>
            </a:xfrm>
            <a:custGeom>
              <a:avLst/>
              <a:gdLst>
                <a:gd name="T0" fmla="*/ 394 w 795"/>
                <a:gd name="T1" fmla="*/ 639 h 639"/>
                <a:gd name="T2" fmla="*/ 0 w 795"/>
                <a:gd name="T3" fmla="*/ 237 h 639"/>
                <a:gd name="T4" fmla="*/ 0 w 795"/>
                <a:gd name="T5" fmla="*/ 0 h 639"/>
                <a:gd name="T6" fmla="*/ 393 w 795"/>
                <a:gd name="T7" fmla="*/ 404 h 639"/>
                <a:gd name="T8" fmla="*/ 795 w 795"/>
                <a:gd name="T9" fmla="*/ 0 h 639"/>
                <a:gd name="T10" fmla="*/ 795 w 795"/>
                <a:gd name="T11" fmla="*/ 237 h 639"/>
                <a:gd name="T12" fmla="*/ 394 w 795"/>
                <a:gd name="T13" fmla="*/ 639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5" h="639">
                  <a:moveTo>
                    <a:pt x="394" y="639"/>
                  </a:moveTo>
                  <a:lnTo>
                    <a:pt x="0" y="237"/>
                  </a:lnTo>
                  <a:lnTo>
                    <a:pt x="0" y="0"/>
                  </a:lnTo>
                  <a:lnTo>
                    <a:pt x="393" y="404"/>
                  </a:lnTo>
                  <a:lnTo>
                    <a:pt x="795" y="0"/>
                  </a:lnTo>
                  <a:lnTo>
                    <a:pt x="795" y="237"/>
                  </a:lnTo>
                  <a:lnTo>
                    <a:pt x="394" y="63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32"/>
            <p:cNvSpPr>
              <a:spLocks/>
            </p:cNvSpPr>
            <p:nvPr userDrawn="1"/>
          </p:nvSpPr>
          <p:spPr bwMode="auto">
            <a:xfrm>
              <a:off x="5529" y="892"/>
              <a:ext cx="265" cy="213"/>
            </a:xfrm>
            <a:custGeom>
              <a:avLst/>
              <a:gdLst>
                <a:gd name="T0" fmla="*/ 401 w 795"/>
                <a:gd name="T1" fmla="*/ 0 h 638"/>
                <a:gd name="T2" fmla="*/ 795 w 795"/>
                <a:gd name="T3" fmla="*/ 399 h 638"/>
                <a:gd name="T4" fmla="*/ 795 w 795"/>
                <a:gd name="T5" fmla="*/ 638 h 638"/>
                <a:gd name="T6" fmla="*/ 402 w 795"/>
                <a:gd name="T7" fmla="*/ 235 h 638"/>
                <a:gd name="T8" fmla="*/ 0 w 795"/>
                <a:gd name="T9" fmla="*/ 638 h 638"/>
                <a:gd name="T10" fmla="*/ 0 w 795"/>
                <a:gd name="T11" fmla="*/ 399 h 638"/>
                <a:gd name="T12" fmla="*/ 401 w 795"/>
                <a:gd name="T13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5" h="638">
                  <a:moveTo>
                    <a:pt x="401" y="0"/>
                  </a:moveTo>
                  <a:lnTo>
                    <a:pt x="795" y="399"/>
                  </a:lnTo>
                  <a:lnTo>
                    <a:pt x="795" y="638"/>
                  </a:lnTo>
                  <a:lnTo>
                    <a:pt x="402" y="235"/>
                  </a:lnTo>
                  <a:lnTo>
                    <a:pt x="0" y="638"/>
                  </a:lnTo>
                  <a:lnTo>
                    <a:pt x="0" y="399"/>
                  </a:lnTo>
                  <a:lnTo>
                    <a:pt x="40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584771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ize 1 conta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1" hasCustomPrompt="1"/>
          </p:nvPr>
        </p:nvSpPr>
        <p:spPr>
          <a:xfrm>
            <a:off x="286941" y="897732"/>
            <a:ext cx="8593931" cy="3756422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 dirty="0"/>
              <a:t>Click to edit content</a:t>
            </a:r>
          </a:p>
          <a:p>
            <a:pPr lvl="1"/>
            <a:r>
              <a:rPr lang="pl-PL" dirty="0"/>
              <a:t>Click to edit content</a:t>
            </a:r>
          </a:p>
          <a:p>
            <a:pPr lvl="2"/>
            <a:r>
              <a:rPr lang="pl-PL" dirty="0"/>
              <a:t>Click to edit content</a:t>
            </a:r>
          </a:p>
          <a:p>
            <a:pPr lvl="3"/>
            <a:r>
              <a:rPr lang="pl-PL" dirty="0"/>
              <a:t>Click to edit content</a:t>
            </a:r>
          </a:p>
          <a:p>
            <a:pPr lvl="4"/>
            <a:r>
              <a:rPr lang="pl-PL" dirty="0"/>
              <a:t>Click to edit cont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5763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ize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quarter" idx="12" hasCustomPrompt="1"/>
          </p:nvPr>
        </p:nvSpPr>
        <p:spPr>
          <a:xfrm>
            <a:off x="286479" y="897732"/>
            <a:ext cx="8593931" cy="37564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pl-PL"/>
              <a:t>Up to nine lines of text.</a:t>
            </a:r>
          </a:p>
        </p:txBody>
      </p:sp>
    </p:spTree>
    <p:extLst>
      <p:ext uri="{BB962C8B-B14F-4D97-AF65-F5344CB8AC3E}">
        <p14:creationId xmlns:p14="http://schemas.microsoft.com/office/powerpoint/2010/main" val="17344875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ai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1" hasCustomPrompt="1"/>
          </p:nvPr>
        </p:nvSpPr>
        <p:spPr>
          <a:xfrm>
            <a:off x="286942" y="897731"/>
            <a:ext cx="4184754" cy="3756422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 dirty="0"/>
              <a:t>Click to edit content</a:t>
            </a:r>
          </a:p>
          <a:p>
            <a:pPr lvl="1"/>
            <a:r>
              <a:rPr lang="pl-PL" dirty="0"/>
              <a:t>Click to edit content</a:t>
            </a:r>
          </a:p>
          <a:p>
            <a:pPr lvl="2"/>
            <a:r>
              <a:rPr lang="pl-PL" dirty="0"/>
              <a:t>Click to edit content</a:t>
            </a:r>
          </a:p>
          <a:p>
            <a:pPr lvl="3"/>
            <a:r>
              <a:rPr lang="pl-PL" dirty="0"/>
              <a:t>Click to edit content</a:t>
            </a:r>
          </a:p>
          <a:p>
            <a:pPr lvl="4"/>
            <a:r>
              <a:rPr lang="pl-PL" dirty="0"/>
              <a:t>Click to edit content</a:t>
            </a:r>
            <a:endParaRPr lang="en-US" dirty="0"/>
          </a:p>
        </p:txBody>
      </p:sp>
      <p:sp>
        <p:nvSpPr>
          <p:cNvPr id="6" name="Symbol zastępczy zawartości 4"/>
          <p:cNvSpPr>
            <a:spLocks noGrp="1"/>
          </p:cNvSpPr>
          <p:nvPr>
            <p:ph sz="quarter" idx="12" hasCustomPrompt="1"/>
          </p:nvPr>
        </p:nvSpPr>
        <p:spPr>
          <a:xfrm>
            <a:off x="4660641" y="897731"/>
            <a:ext cx="4219769" cy="3756422"/>
          </a:xfrm>
        </p:spPr>
        <p:txBody>
          <a:bodyPr/>
          <a:lstStyle>
            <a:lvl1pPr marL="270000">
              <a:defRPr lang="pl-PL" smtClean="0"/>
            </a:lvl1pPr>
          </a:lstStyle>
          <a:p>
            <a:pPr lvl="0"/>
            <a:r>
              <a:rPr lang="pl-PL"/>
              <a:t>Click to edit content</a:t>
            </a:r>
          </a:p>
          <a:p>
            <a:pPr lvl="1"/>
            <a:r>
              <a:rPr lang="pl-PL"/>
              <a:t>Click to edit content</a:t>
            </a:r>
          </a:p>
          <a:p>
            <a:pPr lvl="2"/>
            <a:r>
              <a:rPr lang="pl-PL"/>
              <a:t>Click to edit content</a:t>
            </a:r>
          </a:p>
          <a:p>
            <a:pPr lvl="3"/>
            <a:r>
              <a:rPr lang="pl-PL"/>
              <a:t>Click to edit content</a:t>
            </a:r>
          </a:p>
          <a:p>
            <a:pPr lvl="4"/>
            <a:r>
              <a:rPr lang="pl-PL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8548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quarter" idx="13" hasCustomPrompt="1"/>
          </p:nvPr>
        </p:nvSpPr>
        <p:spPr>
          <a:xfrm>
            <a:off x="286916" y="897732"/>
            <a:ext cx="4185047" cy="37564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pl-PL" dirty="0"/>
              <a:t>Up to nine lines of text.</a:t>
            </a:r>
            <a:endParaRPr lang="en-US" dirty="0"/>
          </a:p>
        </p:txBody>
      </p:sp>
      <p:sp>
        <p:nvSpPr>
          <p:cNvPr id="8" name="Symbol zastępczy tekstu 3"/>
          <p:cNvSpPr>
            <a:spLocks noGrp="1"/>
          </p:cNvSpPr>
          <p:nvPr>
            <p:ph type="body" sz="quarter" idx="14" hasCustomPrompt="1"/>
          </p:nvPr>
        </p:nvSpPr>
        <p:spPr>
          <a:xfrm>
            <a:off x="4695363" y="897732"/>
            <a:ext cx="4185047" cy="37564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pl-PL"/>
              <a:t>Up to nine lines of text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0891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ize 1 conta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4072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 dirty="0"/>
              <a:t>Edit Title</a:t>
            </a:r>
            <a:endParaRPr lang="en-US" dirty="0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1" hasCustomPrompt="1"/>
          </p:nvPr>
        </p:nvSpPr>
        <p:spPr>
          <a:xfrm>
            <a:off x="286941" y="897732"/>
            <a:ext cx="8593931" cy="3756422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 dirty="0"/>
              <a:t>Click to edit content</a:t>
            </a:r>
          </a:p>
          <a:p>
            <a:pPr lvl="1"/>
            <a:r>
              <a:rPr lang="pl-PL" dirty="0"/>
              <a:t>Click to edit content</a:t>
            </a:r>
          </a:p>
          <a:p>
            <a:pPr lvl="2"/>
            <a:r>
              <a:rPr lang="pl-PL" dirty="0"/>
              <a:t>Click to edit content</a:t>
            </a:r>
          </a:p>
          <a:p>
            <a:pPr lvl="3"/>
            <a:r>
              <a:rPr lang="pl-PL" dirty="0"/>
              <a:t>Click to edit content</a:t>
            </a:r>
          </a:p>
          <a:p>
            <a:pPr lvl="4"/>
            <a:r>
              <a:rPr lang="pl-PL" dirty="0"/>
              <a:t>Click to edit cont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4694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ai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286942" y="897732"/>
            <a:ext cx="2762088" cy="3756422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6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3202619" y="897732"/>
            <a:ext cx="2762088" cy="3756422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7" name="Symbol zastępczy zawartości 4"/>
          <p:cNvSpPr>
            <a:spLocks noGrp="1"/>
          </p:cNvSpPr>
          <p:nvPr>
            <p:ph sz="quarter" idx="16" hasCustomPrompt="1"/>
          </p:nvPr>
        </p:nvSpPr>
        <p:spPr>
          <a:xfrm>
            <a:off x="6118322" y="897732"/>
            <a:ext cx="2762088" cy="3756422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</p:spTree>
    <p:extLst>
      <p:ext uri="{BB962C8B-B14F-4D97-AF65-F5344CB8AC3E}">
        <p14:creationId xmlns:p14="http://schemas.microsoft.com/office/powerpoint/2010/main" val="12523194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2 contai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9" name="Symbol zastępczy zawartości 4"/>
          <p:cNvSpPr>
            <a:spLocks noGrp="1"/>
          </p:cNvSpPr>
          <p:nvPr>
            <p:ph sz="quarter" idx="11" hasCustomPrompt="1"/>
          </p:nvPr>
        </p:nvSpPr>
        <p:spPr>
          <a:xfrm>
            <a:off x="286942" y="897731"/>
            <a:ext cx="4184754" cy="1826934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10" name="Symbol zastępczy zawartości 4"/>
          <p:cNvSpPr>
            <a:spLocks noGrp="1"/>
          </p:cNvSpPr>
          <p:nvPr>
            <p:ph sz="quarter" idx="13" hasCustomPrompt="1"/>
          </p:nvPr>
        </p:nvSpPr>
        <p:spPr>
          <a:xfrm>
            <a:off x="286942" y="2808073"/>
            <a:ext cx="4184754" cy="1846080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11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4695656" y="897731"/>
            <a:ext cx="4184754" cy="1826934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12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4695656" y="2808073"/>
            <a:ext cx="4184754" cy="1846080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</p:spTree>
    <p:extLst>
      <p:ext uri="{BB962C8B-B14F-4D97-AF65-F5344CB8AC3E}">
        <p14:creationId xmlns:p14="http://schemas.microsoft.com/office/powerpoint/2010/main" val="9593442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+2 contai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1" hasCustomPrompt="1"/>
          </p:nvPr>
        </p:nvSpPr>
        <p:spPr>
          <a:xfrm>
            <a:off x="4695656" y="897731"/>
            <a:ext cx="4184754" cy="1826934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6" name="Symbol zastępczy zawartości 4"/>
          <p:cNvSpPr>
            <a:spLocks noGrp="1"/>
          </p:cNvSpPr>
          <p:nvPr>
            <p:ph sz="quarter" idx="13" hasCustomPrompt="1"/>
          </p:nvPr>
        </p:nvSpPr>
        <p:spPr>
          <a:xfrm>
            <a:off x="4695656" y="2808073"/>
            <a:ext cx="4184754" cy="1846080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9" name="Symbol zastępczy zawartości 4"/>
          <p:cNvSpPr>
            <a:spLocks noGrp="1"/>
          </p:cNvSpPr>
          <p:nvPr>
            <p:ph sz="quarter" idx="12" hasCustomPrompt="1"/>
          </p:nvPr>
        </p:nvSpPr>
        <p:spPr>
          <a:xfrm>
            <a:off x="286916" y="897731"/>
            <a:ext cx="4184754" cy="3756422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  <a:p>
            <a:pPr lvl="1"/>
            <a:r>
              <a:rPr lang="pl-PL"/>
              <a:t>Click to edit content</a:t>
            </a:r>
          </a:p>
          <a:p>
            <a:pPr lvl="2"/>
            <a:r>
              <a:rPr lang="pl-PL"/>
              <a:t>Click to edit content</a:t>
            </a:r>
          </a:p>
          <a:p>
            <a:pPr lvl="3"/>
            <a:r>
              <a:rPr lang="pl-PL"/>
              <a:t>Click to edit content</a:t>
            </a:r>
          </a:p>
          <a:p>
            <a:pPr lvl="4"/>
            <a:r>
              <a:rPr lang="pl-PL"/>
              <a:t>Click to edit content</a:t>
            </a:r>
          </a:p>
        </p:txBody>
      </p:sp>
    </p:spTree>
    <p:extLst>
      <p:ext uri="{BB962C8B-B14F-4D97-AF65-F5344CB8AC3E}">
        <p14:creationId xmlns:p14="http://schemas.microsoft.com/office/powerpoint/2010/main" val="36824269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contai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1" hasCustomPrompt="1"/>
          </p:nvPr>
        </p:nvSpPr>
        <p:spPr>
          <a:xfrm>
            <a:off x="286942" y="897731"/>
            <a:ext cx="4184754" cy="1826934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6" name="Symbol zastępczy zawartości 4"/>
          <p:cNvSpPr>
            <a:spLocks noGrp="1"/>
          </p:cNvSpPr>
          <p:nvPr>
            <p:ph sz="quarter" idx="13" hasCustomPrompt="1"/>
          </p:nvPr>
        </p:nvSpPr>
        <p:spPr>
          <a:xfrm>
            <a:off x="286942" y="2808073"/>
            <a:ext cx="4184754" cy="1846080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9" name="Symbol zastępczy zawartości 4"/>
          <p:cNvSpPr>
            <a:spLocks noGrp="1"/>
          </p:cNvSpPr>
          <p:nvPr>
            <p:ph sz="quarter" idx="12" hasCustomPrompt="1"/>
          </p:nvPr>
        </p:nvSpPr>
        <p:spPr>
          <a:xfrm>
            <a:off x="4695656" y="897731"/>
            <a:ext cx="4184754" cy="3756422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  <a:p>
            <a:pPr lvl="1"/>
            <a:r>
              <a:rPr lang="pl-PL"/>
              <a:t>Click to edit content</a:t>
            </a:r>
          </a:p>
          <a:p>
            <a:pPr lvl="2"/>
            <a:r>
              <a:rPr lang="pl-PL"/>
              <a:t>Click to edit content</a:t>
            </a:r>
          </a:p>
          <a:p>
            <a:pPr lvl="3"/>
            <a:r>
              <a:rPr lang="pl-PL"/>
              <a:t>Click to edit content</a:t>
            </a:r>
          </a:p>
          <a:p>
            <a:pPr lvl="4"/>
            <a:r>
              <a:rPr lang="pl-PL"/>
              <a:t>Click to edit content</a:t>
            </a:r>
          </a:p>
        </p:txBody>
      </p:sp>
    </p:spTree>
    <p:extLst>
      <p:ext uri="{BB962C8B-B14F-4D97-AF65-F5344CB8AC3E}">
        <p14:creationId xmlns:p14="http://schemas.microsoft.com/office/powerpoint/2010/main" val="4512573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Full size 1 conta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1" hasCustomPrompt="1"/>
          </p:nvPr>
        </p:nvSpPr>
        <p:spPr>
          <a:xfrm>
            <a:off x="286941" y="1408670"/>
            <a:ext cx="8593931" cy="3245483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  <a:p>
            <a:pPr lvl="1"/>
            <a:r>
              <a:rPr lang="pl-PL"/>
              <a:t>Click to edit content</a:t>
            </a:r>
          </a:p>
          <a:p>
            <a:pPr lvl="2"/>
            <a:r>
              <a:rPr lang="pl-PL"/>
              <a:t>Click to edit content</a:t>
            </a:r>
          </a:p>
          <a:p>
            <a:pPr lvl="3"/>
            <a:r>
              <a:rPr lang="pl-PL"/>
              <a:t>Click to edit content</a:t>
            </a:r>
          </a:p>
          <a:p>
            <a:pPr lvl="4"/>
            <a:r>
              <a:rPr lang="pl-PL"/>
              <a:t>Click to edit content</a:t>
            </a:r>
            <a:endParaRPr lang="en-US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quarter" idx="12" hasCustomPrompt="1"/>
          </p:nvPr>
        </p:nvSpPr>
        <p:spPr>
          <a:xfrm>
            <a:off x="286942" y="753114"/>
            <a:ext cx="8593469" cy="367903"/>
          </a:xfrm>
          <a:solidFill>
            <a:schemeClr val="accent3"/>
          </a:solidFill>
        </p:spPr>
        <p:txBody>
          <a:bodyPr>
            <a:noAutofit/>
          </a:bodyPr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  <a:lvl2pPr marL="244350" indent="0">
              <a:buNone/>
              <a:defRPr sz="1500"/>
            </a:lvl2pPr>
            <a:lvl3pPr marL="587250" indent="0">
              <a:buNone/>
              <a:defRPr sz="1500"/>
            </a:lvl3pPr>
            <a:lvl4pPr marL="930150" indent="0">
              <a:buNone/>
              <a:defRPr sz="1500"/>
            </a:lvl4pPr>
            <a:lvl5pPr marL="1273050" indent="0">
              <a:buNone/>
              <a:defRPr sz="1500"/>
            </a:lvl5pPr>
          </a:lstStyle>
          <a:p>
            <a:pPr lvl="0"/>
            <a:r>
              <a:rPr lang="pl-PL"/>
              <a:t>EDIT SUBTITLE</a:t>
            </a:r>
          </a:p>
        </p:txBody>
      </p:sp>
    </p:spTree>
    <p:extLst>
      <p:ext uri="{BB962C8B-B14F-4D97-AF65-F5344CB8AC3E}">
        <p14:creationId xmlns:p14="http://schemas.microsoft.com/office/powerpoint/2010/main" val="20803630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2 contai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quarter" idx="12" hasCustomPrompt="1"/>
          </p:nvPr>
        </p:nvSpPr>
        <p:spPr>
          <a:xfrm>
            <a:off x="286942" y="753114"/>
            <a:ext cx="8593469" cy="367903"/>
          </a:xfrm>
          <a:solidFill>
            <a:schemeClr val="accent3"/>
          </a:solidFill>
        </p:spPr>
        <p:txBody>
          <a:bodyPr>
            <a:noAutofit/>
          </a:bodyPr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  <a:lvl2pPr marL="244350" indent="0">
              <a:buNone/>
              <a:defRPr sz="1500"/>
            </a:lvl2pPr>
            <a:lvl3pPr marL="587250" indent="0">
              <a:buNone/>
              <a:defRPr sz="1500"/>
            </a:lvl3pPr>
            <a:lvl4pPr marL="930150" indent="0">
              <a:buNone/>
              <a:defRPr sz="1500"/>
            </a:lvl4pPr>
            <a:lvl5pPr marL="1273050" indent="0">
              <a:buNone/>
              <a:defRPr sz="1500"/>
            </a:lvl5pPr>
          </a:lstStyle>
          <a:p>
            <a:pPr lvl="0"/>
            <a:r>
              <a:rPr lang="pl-PL"/>
              <a:t>EDIT SUBTITLE</a:t>
            </a:r>
          </a:p>
        </p:txBody>
      </p:sp>
      <p:sp>
        <p:nvSpPr>
          <p:cNvPr id="6" name="Symbol zastępczy zawartości 4"/>
          <p:cNvSpPr>
            <a:spLocks noGrp="1"/>
          </p:cNvSpPr>
          <p:nvPr>
            <p:ph sz="quarter" idx="13" hasCustomPrompt="1"/>
          </p:nvPr>
        </p:nvSpPr>
        <p:spPr>
          <a:xfrm>
            <a:off x="286942" y="1408670"/>
            <a:ext cx="4184754" cy="3245483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  <a:p>
            <a:pPr lvl="1"/>
            <a:r>
              <a:rPr lang="pl-PL"/>
              <a:t>Click to edit content</a:t>
            </a:r>
          </a:p>
          <a:p>
            <a:pPr lvl="2"/>
            <a:r>
              <a:rPr lang="pl-PL"/>
              <a:t>Click to edit content</a:t>
            </a:r>
          </a:p>
          <a:p>
            <a:pPr lvl="3"/>
            <a:r>
              <a:rPr lang="pl-PL"/>
              <a:t>Click to edit content</a:t>
            </a:r>
          </a:p>
          <a:p>
            <a:pPr lvl="4"/>
            <a:r>
              <a:rPr lang="pl-PL"/>
              <a:t>Click to edit content</a:t>
            </a:r>
            <a:endParaRPr lang="en-US"/>
          </a:p>
        </p:txBody>
      </p:sp>
      <p:sp>
        <p:nvSpPr>
          <p:cNvPr id="7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4660641" y="1408670"/>
            <a:ext cx="4219769" cy="3245483"/>
          </a:xfrm>
        </p:spPr>
        <p:txBody>
          <a:bodyPr/>
          <a:lstStyle>
            <a:lvl1pPr marL="270000">
              <a:defRPr lang="pl-PL" smtClean="0"/>
            </a:lvl1pPr>
          </a:lstStyle>
          <a:p>
            <a:pPr lvl="0"/>
            <a:r>
              <a:rPr lang="pl-PL"/>
              <a:t>Click to edit content</a:t>
            </a:r>
          </a:p>
          <a:p>
            <a:pPr lvl="1"/>
            <a:r>
              <a:rPr lang="pl-PL"/>
              <a:t>Click to edit content</a:t>
            </a:r>
          </a:p>
          <a:p>
            <a:pPr lvl="2"/>
            <a:r>
              <a:rPr lang="pl-PL"/>
              <a:t>Click to edit content</a:t>
            </a:r>
          </a:p>
          <a:p>
            <a:pPr lvl="3"/>
            <a:r>
              <a:rPr lang="pl-PL"/>
              <a:t>Click to edit content</a:t>
            </a:r>
          </a:p>
          <a:p>
            <a:pPr lvl="4"/>
            <a:r>
              <a:rPr lang="pl-PL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6667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1+2 contai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quarter" idx="12" hasCustomPrompt="1"/>
          </p:nvPr>
        </p:nvSpPr>
        <p:spPr>
          <a:xfrm>
            <a:off x="286942" y="753114"/>
            <a:ext cx="8593469" cy="367903"/>
          </a:xfrm>
          <a:solidFill>
            <a:schemeClr val="accent3"/>
          </a:solidFill>
        </p:spPr>
        <p:txBody>
          <a:bodyPr>
            <a:noAutofit/>
          </a:bodyPr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  <a:lvl2pPr marL="244350" indent="0">
              <a:buNone/>
              <a:defRPr sz="1500"/>
            </a:lvl2pPr>
            <a:lvl3pPr marL="587250" indent="0">
              <a:buNone/>
              <a:defRPr sz="1500"/>
            </a:lvl3pPr>
            <a:lvl4pPr marL="930150" indent="0">
              <a:buNone/>
              <a:defRPr sz="1500"/>
            </a:lvl4pPr>
            <a:lvl5pPr marL="1273050" indent="0">
              <a:buNone/>
              <a:defRPr sz="1500"/>
            </a:lvl5pPr>
          </a:lstStyle>
          <a:p>
            <a:pPr lvl="0"/>
            <a:r>
              <a:rPr lang="pl-PL"/>
              <a:t>EDIT SUBTITLE</a:t>
            </a:r>
          </a:p>
        </p:txBody>
      </p:sp>
      <p:sp>
        <p:nvSpPr>
          <p:cNvPr id="6" name="Symbol zastępczy zawartości 4"/>
          <p:cNvSpPr>
            <a:spLocks noGrp="1"/>
          </p:cNvSpPr>
          <p:nvPr>
            <p:ph sz="quarter" idx="13" hasCustomPrompt="1"/>
          </p:nvPr>
        </p:nvSpPr>
        <p:spPr>
          <a:xfrm>
            <a:off x="286942" y="1408670"/>
            <a:ext cx="4184754" cy="3245483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  <a:p>
            <a:pPr lvl="1"/>
            <a:r>
              <a:rPr lang="pl-PL"/>
              <a:t>Click to edit content</a:t>
            </a:r>
          </a:p>
          <a:p>
            <a:pPr lvl="2"/>
            <a:r>
              <a:rPr lang="pl-PL"/>
              <a:t>Click to edit content</a:t>
            </a:r>
          </a:p>
          <a:p>
            <a:pPr lvl="3"/>
            <a:r>
              <a:rPr lang="pl-PL"/>
              <a:t>Click to edit content</a:t>
            </a:r>
          </a:p>
          <a:p>
            <a:pPr lvl="4"/>
            <a:r>
              <a:rPr lang="pl-PL"/>
              <a:t>Click to edit content</a:t>
            </a:r>
            <a:endParaRPr lang="en-US"/>
          </a:p>
        </p:txBody>
      </p:sp>
      <p:sp>
        <p:nvSpPr>
          <p:cNvPr id="8" name="Symbol zastępczy zawartości 4"/>
          <p:cNvSpPr>
            <a:spLocks noGrp="1"/>
          </p:cNvSpPr>
          <p:nvPr>
            <p:ph sz="quarter" idx="11" hasCustomPrompt="1"/>
          </p:nvPr>
        </p:nvSpPr>
        <p:spPr>
          <a:xfrm>
            <a:off x="4695656" y="1408669"/>
            <a:ext cx="4184754" cy="1556953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9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4695656" y="3086101"/>
            <a:ext cx="4184754" cy="1568052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</p:spTree>
    <p:extLst>
      <p:ext uri="{BB962C8B-B14F-4D97-AF65-F5344CB8AC3E}">
        <p14:creationId xmlns:p14="http://schemas.microsoft.com/office/powerpoint/2010/main" val="21687314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2+1 contai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quarter" idx="12" hasCustomPrompt="1"/>
          </p:nvPr>
        </p:nvSpPr>
        <p:spPr>
          <a:xfrm>
            <a:off x="286942" y="753114"/>
            <a:ext cx="8593469" cy="367903"/>
          </a:xfrm>
          <a:solidFill>
            <a:schemeClr val="accent3"/>
          </a:solidFill>
        </p:spPr>
        <p:txBody>
          <a:bodyPr>
            <a:noAutofit/>
          </a:bodyPr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  <a:lvl2pPr marL="244350" indent="0">
              <a:buNone/>
              <a:defRPr sz="1500"/>
            </a:lvl2pPr>
            <a:lvl3pPr marL="587250" indent="0">
              <a:buNone/>
              <a:defRPr sz="1500"/>
            </a:lvl3pPr>
            <a:lvl4pPr marL="930150" indent="0">
              <a:buNone/>
              <a:defRPr sz="1500"/>
            </a:lvl4pPr>
            <a:lvl5pPr marL="1273050" indent="0">
              <a:buNone/>
              <a:defRPr sz="1500"/>
            </a:lvl5pPr>
          </a:lstStyle>
          <a:p>
            <a:pPr lvl="0"/>
            <a:r>
              <a:rPr lang="pl-PL"/>
              <a:t>EDIT SUBTITLE</a:t>
            </a:r>
          </a:p>
        </p:txBody>
      </p:sp>
      <p:sp>
        <p:nvSpPr>
          <p:cNvPr id="6" name="Symbol zastępczy zawartości 4"/>
          <p:cNvSpPr>
            <a:spLocks noGrp="1"/>
          </p:cNvSpPr>
          <p:nvPr>
            <p:ph sz="quarter" idx="13" hasCustomPrompt="1"/>
          </p:nvPr>
        </p:nvSpPr>
        <p:spPr>
          <a:xfrm>
            <a:off x="4695656" y="1408670"/>
            <a:ext cx="4184754" cy="3245483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  <a:p>
            <a:pPr lvl="1"/>
            <a:r>
              <a:rPr lang="pl-PL"/>
              <a:t>Click to edit content</a:t>
            </a:r>
          </a:p>
          <a:p>
            <a:pPr lvl="2"/>
            <a:r>
              <a:rPr lang="pl-PL"/>
              <a:t>Click to edit content</a:t>
            </a:r>
          </a:p>
          <a:p>
            <a:pPr lvl="3"/>
            <a:r>
              <a:rPr lang="pl-PL"/>
              <a:t>Click to edit content</a:t>
            </a:r>
          </a:p>
          <a:p>
            <a:pPr lvl="4"/>
            <a:r>
              <a:rPr lang="pl-PL"/>
              <a:t>Click to edit content</a:t>
            </a:r>
            <a:endParaRPr lang="en-US"/>
          </a:p>
        </p:txBody>
      </p:sp>
      <p:sp>
        <p:nvSpPr>
          <p:cNvPr id="8" name="Symbol zastępczy zawartości 4"/>
          <p:cNvSpPr>
            <a:spLocks noGrp="1"/>
          </p:cNvSpPr>
          <p:nvPr>
            <p:ph sz="quarter" idx="11" hasCustomPrompt="1"/>
          </p:nvPr>
        </p:nvSpPr>
        <p:spPr>
          <a:xfrm>
            <a:off x="286916" y="1408669"/>
            <a:ext cx="4184754" cy="1556953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9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286916" y="3086101"/>
            <a:ext cx="4184754" cy="1568052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</p:spTree>
    <p:extLst>
      <p:ext uri="{BB962C8B-B14F-4D97-AF65-F5344CB8AC3E}">
        <p14:creationId xmlns:p14="http://schemas.microsoft.com/office/powerpoint/2010/main" val="254661211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size screen 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/>
          <p:cNvSpPr>
            <a:spLocks noGrp="1"/>
          </p:cNvSpPr>
          <p:nvPr>
            <p:ph sz="quarter" idx="10" hasCustomPrompt="1"/>
          </p:nvPr>
        </p:nvSpPr>
        <p:spPr>
          <a:xfrm>
            <a:off x="0" y="1"/>
            <a:ext cx="9144000" cy="5143499"/>
          </a:xfrm>
        </p:spPr>
        <p:txBody>
          <a:bodyPr anchor="b"/>
          <a:lstStyle>
            <a:lvl1pPr marL="0" indent="0" algn="ctr">
              <a:buFontTx/>
              <a:buNone/>
              <a:defRPr sz="1800"/>
            </a:lvl1pPr>
          </a:lstStyle>
          <a:p>
            <a:r>
              <a:rPr lang="pl-PL" dirty="0"/>
              <a:t>Full size screen shot.</a:t>
            </a:r>
            <a:br>
              <a:rPr lang="pl-PL" dirty="0"/>
            </a:br>
            <a:r>
              <a:rPr lang="pl-PL" dirty="0"/>
              <a:t>Right click to paste picture if copying from other slide. </a:t>
            </a:r>
            <a:br>
              <a:rPr lang="pl-PL" dirty="0"/>
            </a:br>
            <a:r>
              <a:rPr lang="pl-PL" dirty="0"/>
              <a:t>Left click in center to browse for file to plac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55348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ize screen shot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1"/>
          <p:cNvSpPr>
            <a:spLocks noGrp="1"/>
          </p:cNvSpPr>
          <p:nvPr>
            <p:ph type="title" hasCustomPrompt="1"/>
          </p:nvPr>
        </p:nvSpPr>
        <p:spPr>
          <a:xfrm>
            <a:off x="286917" y="273844"/>
            <a:ext cx="8593493" cy="376967"/>
          </a:xfrm>
        </p:spPr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0" hasCustomPrompt="1"/>
          </p:nvPr>
        </p:nvSpPr>
        <p:spPr>
          <a:xfrm>
            <a:off x="0" y="1"/>
            <a:ext cx="9144000" cy="5143499"/>
          </a:xfrm>
        </p:spPr>
        <p:txBody>
          <a:bodyPr anchor="b"/>
          <a:lstStyle>
            <a:lvl1pPr marL="0" indent="0" algn="ctr">
              <a:buFontTx/>
              <a:buNone/>
              <a:defRPr sz="1800"/>
            </a:lvl1pPr>
          </a:lstStyle>
          <a:p>
            <a:r>
              <a:rPr lang="pl-PL" dirty="0"/>
              <a:t>Full size screen shot.</a:t>
            </a:r>
            <a:br>
              <a:rPr lang="pl-PL" dirty="0"/>
            </a:br>
            <a:r>
              <a:rPr lang="pl-PL" dirty="0"/>
              <a:t>Right click to paste picture if copying from other slide. </a:t>
            </a:r>
            <a:br>
              <a:rPr lang="pl-PL" dirty="0"/>
            </a:br>
            <a:r>
              <a:rPr lang="pl-PL" dirty="0"/>
              <a:t>Left click in center to browse for file to plac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87418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ize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quarter" idx="12" hasCustomPrompt="1"/>
          </p:nvPr>
        </p:nvSpPr>
        <p:spPr>
          <a:xfrm>
            <a:off x="286479" y="897732"/>
            <a:ext cx="8593931" cy="37564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pl-PL"/>
              <a:t>Up to seven lines of text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4228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Sta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/>
              <a:t>Goal Status</a:t>
            </a:r>
            <a:endParaRPr lang="en-US"/>
          </a:p>
        </p:txBody>
      </p:sp>
      <p:sp>
        <p:nvSpPr>
          <p:cNvPr id="8" name="Symbol zastępczy tekstu 10"/>
          <p:cNvSpPr>
            <a:spLocks noGrp="1"/>
          </p:cNvSpPr>
          <p:nvPr>
            <p:ph type="body" sz="quarter" idx="16" hasCustomPrompt="1"/>
          </p:nvPr>
        </p:nvSpPr>
        <p:spPr>
          <a:xfrm>
            <a:off x="286941" y="1631092"/>
            <a:ext cx="2762250" cy="302306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pl-PL"/>
              <a:t>Completed projects</a:t>
            </a:r>
            <a:endParaRPr lang="en-US"/>
          </a:p>
        </p:txBody>
      </p:sp>
      <p:sp>
        <p:nvSpPr>
          <p:cNvPr id="9" name="Symbol zastępczy tekstu 10"/>
          <p:cNvSpPr>
            <a:spLocks noGrp="1"/>
          </p:cNvSpPr>
          <p:nvPr>
            <p:ph type="body" sz="quarter" idx="17" hasCustomPrompt="1"/>
          </p:nvPr>
        </p:nvSpPr>
        <p:spPr>
          <a:xfrm>
            <a:off x="6118160" y="1631092"/>
            <a:ext cx="2762250" cy="302306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pl-PL"/>
              <a:t>Upcoming projects</a:t>
            </a:r>
            <a:endParaRPr lang="en-US"/>
          </a:p>
        </p:txBody>
      </p:sp>
      <p:sp>
        <p:nvSpPr>
          <p:cNvPr id="10" name="Symbol zastępczy tekstu 10"/>
          <p:cNvSpPr>
            <a:spLocks noGrp="1"/>
          </p:cNvSpPr>
          <p:nvPr>
            <p:ph type="body" sz="quarter" idx="18" hasCustomPrompt="1"/>
          </p:nvPr>
        </p:nvSpPr>
        <p:spPr>
          <a:xfrm>
            <a:off x="3202538" y="1631092"/>
            <a:ext cx="2762250" cy="3023062"/>
          </a:xfrm>
        </p:spPr>
        <p:txBody>
          <a:bodyPr>
            <a:normAutofit/>
          </a:bodyPr>
          <a:lstStyle>
            <a:lvl1pPr marL="0" indent="0">
              <a:buNone/>
              <a:defRPr sz="1100" baseline="0"/>
            </a:lvl1pPr>
          </a:lstStyle>
          <a:p>
            <a:pPr lvl="0"/>
            <a:r>
              <a:rPr lang="pl-PL"/>
              <a:t>Active projects</a:t>
            </a:r>
            <a:endParaRPr lang="en-US"/>
          </a:p>
        </p:txBody>
      </p:sp>
      <p:sp>
        <p:nvSpPr>
          <p:cNvPr id="11" name="Prostokąt 10"/>
          <p:cNvSpPr/>
          <p:nvPr userDrawn="1"/>
        </p:nvSpPr>
        <p:spPr>
          <a:xfrm>
            <a:off x="286917" y="1065771"/>
            <a:ext cx="2762275" cy="3985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12" name="pole tekstowe 11"/>
          <p:cNvSpPr txBox="1"/>
          <p:nvPr userDrawn="1"/>
        </p:nvSpPr>
        <p:spPr>
          <a:xfrm>
            <a:off x="721820" y="1132186"/>
            <a:ext cx="1265411" cy="28469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pl-PL" b="1">
                <a:solidFill>
                  <a:schemeClr val="bg1"/>
                </a:solidFill>
              </a:rPr>
              <a:t>COMPLETED</a:t>
            </a:r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13" name="Prostokąt 12"/>
          <p:cNvSpPr/>
          <p:nvPr userDrawn="1"/>
        </p:nvSpPr>
        <p:spPr>
          <a:xfrm>
            <a:off x="3202513" y="1065771"/>
            <a:ext cx="2762275" cy="398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14" name="pole tekstowe 13"/>
          <p:cNvSpPr txBox="1"/>
          <p:nvPr userDrawn="1"/>
        </p:nvSpPr>
        <p:spPr>
          <a:xfrm>
            <a:off x="3643947" y="1132186"/>
            <a:ext cx="797334" cy="28469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pl-PL" b="1">
                <a:solidFill>
                  <a:schemeClr val="bg1"/>
                </a:solidFill>
              </a:rPr>
              <a:t>ACTIVE</a:t>
            </a:r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15" name="Prostokąt 14"/>
          <p:cNvSpPr/>
          <p:nvPr userDrawn="1"/>
        </p:nvSpPr>
        <p:spPr>
          <a:xfrm>
            <a:off x="6118160" y="1065771"/>
            <a:ext cx="2762275" cy="39850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16" name="pole tekstowe 15"/>
          <p:cNvSpPr txBox="1"/>
          <p:nvPr userDrawn="1"/>
        </p:nvSpPr>
        <p:spPr>
          <a:xfrm>
            <a:off x="6523002" y="1132186"/>
            <a:ext cx="1125949" cy="28469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pl-PL" b="1">
                <a:solidFill>
                  <a:schemeClr val="bg1"/>
                </a:solidFill>
              </a:rPr>
              <a:t>UPCOMING</a:t>
            </a:r>
            <a:endParaRPr lang="en-US" b="1">
              <a:solidFill>
                <a:schemeClr val="bg1"/>
              </a:solidFill>
            </a:endParaRPr>
          </a:p>
        </p:txBody>
      </p:sp>
      <p:pic>
        <p:nvPicPr>
          <p:cNvPr id="6" name="Obraz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39625" y="1184067"/>
            <a:ext cx="161912" cy="161912"/>
          </a:xfrm>
          <a:prstGeom prst="rect">
            <a:avLst/>
          </a:prstGeom>
        </p:spPr>
      </p:pic>
      <p:pic>
        <p:nvPicPr>
          <p:cNvPr id="7" name="Obraz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5047" y="1167106"/>
            <a:ext cx="226223" cy="178874"/>
          </a:xfrm>
          <a:prstGeom prst="rect">
            <a:avLst/>
          </a:prstGeom>
        </p:spPr>
      </p:pic>
      <p:pic>
        <p:nvPicPr>
          <p:cNvPr id="17" name="Obraz 1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323322" y="1132185"/>
            <a:ext cx="224784" cy="242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7133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/>
              <a:t>Goal Timeline</a:t>
            </a:r>
            <a:endParaRPr lang="en-US"/>
          </a:p>
        </p:txBody>
      </p:sp>
      <p:sp>
        <p:nvSpPr>
          <p:cNvPr id="11" name="Prostokąt 10"/>
          <p:cNvSpPr/>
          <p:nvPr userDrawn="1"/>
        </p:nvSpPr>
        <p:spPr>
          <a:xfrm>
            <a:off x="286917" y="1065771"/>
            <a:ext cx="535784" cy="3985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17" name="Symbol zastępczy tekstu 10"/>
          <p:cNvSpPr>
            <a:spLocks noGrp="1"/>
          </p:cNvSpPr>
          <p:nvPr>
            <p:ph type="body" sz="quarter" idx="19" hasCustomPrompt="1"/>
          </p:nvPr>
        </p:nvSpPr>
        <p:spPr>
          <a:xfrm>
            <a:off x="6326154" y="1065771"/>
            <a:ext cx="2554255" cy="112879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pl-PL"/>
              <a:t>Completed projects</a:t>
            </a:r>
            <a:endParaRPr lang="en-US"/>
          </a:p>
        </p:txBody>
      </p:sp>
      <p:sp>
        <p:nvSpPr>
          <p:cNvPr id="18" name="Symbol zastępczy tekstu 10"/>
          <p:cNvSpPr>
            <a:spLocks noGrp="1"/>
          </p:cNvSpPr>
          <p:nvPr>
            <p:ph type="body" sz="quarter" idx="20" hasCustomPrompt="1"/>
          </p:nvPr>
        </p:nvSpPr>
        <p:spPr>
          <a:xfrm>
            <a:off x="6326154" y="3534649"/>
            <a:ext cx="2554255" cy="112879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pl-PL"/>
              <a:t>Upcoming projects</a:t>
            </a:r>
            <a:endParaRPr lang="en-US"/>
          </a:p>
        </p:txBody>
      </p:sp>
      <p:sp>
        <p:nvSpPr>
          <p:cNvPr id="19" name="Symbol zastępczy tekstu 10"/>
          <p:cNvSpPr>
            <a:spLocks noGrp="1"/>
          </p:cNvSpPr>
          <p:nvPr>
            <p:ph type="body" sz="quarter" idx="21" hasCustomPrompt="1"/>
          </p:nvPr>
        </p:nvSpPr>
        <p:spPr>
          <a:xfrm>
            <a:off x="6326154" y="2300210"/>
            <a:ext cx="2554255" cy="1128790"/>
          </a:xfrm>
        </p:spPr>
        <p:txBody>
          <a:bodyPr>
            <a:normAutofit/>
          </a:bodyPr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pl-PL"/>
              <a:t>Active projects</a:t>
            </a:r>
            <a:endParaRPr lang="en-US"/>
          </a:p>
        </p:txBody>
      </p:sp>
      <p:sp>
        <p:nvSpPr>
          <p:cNvPr id="25" name="Prostokąt 24"/>
          <p:cNvSpPr/>
          <p:nvPr userDrawn="1"/>
        </p:nvSpPr>
        <p:spPr>
          <a:xfrm>
            <a:off x="286916" y="2295896"/>
            <a:ext cx="535785" cy="398506"/>
          </a:xfrm>
          <a:prstGeom prst="rect">
            <a:avLst/>
          </a:prstGeom>
          <a:solidFill>
            <a:srgbClr val="EB57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26" name="Prostokąt 25"/>
          <p:cNvSpPr/>
          <p:nvPr userDrawn="1"/>
        </p:nvSpPr>
        <p:spPr>
          <a:xfrm>
            <a:off x="286916" y="3534649"/>
            <a:ext cx="535786" cy="39850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27" name="Symbol zastępczy tekstu 10"/>
          <p:cNvSpPr>
            <a:spLocks noGrp="1"/>
          </p:cNvSpPr>
          <p:nvPr>
            <p:ph type="body" sz="quarter" idx="22" hasCustomPrompt="1"/>
          </p:nvPr>
        </p:nvSpPr>
        <p:spPr>
          <a:xfrm>
            <a:off x="3574427" y="1065771"/>
            <a:ext cx="2554255" cy="112879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pl-PL"/>
              <a:t>Completed projects</a:t>
            </a:r>
            <a:endParaRPr lang="en-US"/>
          </a:p>
        </p:txBody>
      </p:sp>
      <p:sp>
        <p:nvSpPr>
          <p:cNvPr id="28" name="Symbol zastępczy tekstu 10"/>
          <p:cNvSpPr>
            <a:spLocks noGrp="1"/>
          </p:cNvSpPr>
          <p:nvPr>
            <p:ph type="body" sz="quarter" idx="23" hasCustomPrompt="1"/>
          </p:nvPr>
        </p:nvSpPr>
        <p:spPr>
          <a:xfrm>
            <a:off x="3574427" y="3534649"/>
            <a:ext cx="2554255" cy="112879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pl-PL"/>
              <a:t>Upcoming projects</a:t>
            </a:r>
            <a:endParaRPr lang="en-US"/>
          </a:p>
        </p:txBody>
      </p:sp>
      <p:sp>
        <p:nvSpPr>
          <p:cNvPr id="29" name="Symbol zastępczy tekstu 10"/>
          <p:cNvSpPr>
            <a:spLocks noGrp="1"/>
          </p:cNvSpPr>
          <p:nvPr>
            <p:ph type="body" sz="quarter" idx="24" hasCustomPrompt="1"/>
          </p:nvPr>
        </p:nvSpPr>
        <p:spPr>
          <a:xfrm>
            <a:off x="3574427" y="2300210"/>
            <a:ext cx="2554255" cy="1128790"/>
          </a:xfrm>
        </p:spPr>
        <p:txBody>
          <a:bodyPr>
            <a:normAutofit/>
          </a:bodyPr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pl-PL"/>
              <a:t>Active projects</a:t>
            </a:r>
            <a:endParaRPr lang="en-US"/>
          </a:p>
        </p:txBody>
      </p:sp>
      <p:sp>
        <p:nvSpPr>
          <p:cNvPr id="30" name="Symbol zastępczy tekstu 10"/>
          <p:cNvSpPr>
            <a:spLocks noGrp="1"/>
          </p:cNvSpPr>
          <p:nvPr>
            <p:ph type="body" sz="quarter" idx="25" hasCustomPrompt="1"/>
          </p:nvPr>
        </p:nvSpPr>
        <p:spPr>
          <a:xfrm>
            <a:off x="822701" y="1065771"/>
            <a:ext cx="2554255" cy="112879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pl-PL"/>
              <a:t>Completed projects</a:t>
            </a:r>
            <a:endParaRPr lang="en-US"/>
          </a:p>
        </p:txBody>
      </p:sp>
      <p:sp>
        <p:nvSpPr>
          <p:cNvPr id="31" name="Symbol zastępczy tekstu 10"/>
          <p:cNvSpPr>
            <a:spLocks noGrp="1"/>
          </p:cNvSpPr>
          <p:nvPr>
            <p:ph type="body" sz="quarter" idx="26" hasCustomPrompt="1"/>
          </p:nvPr>
        </p:nvSpPr>
        <p:spPr>
          <a:xfrm>
            <a:off x="822701" y="3534649"/>
            <a:ext cx="2554255" cy="112879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pl-PL"/>
              <a:t>Upcoming projects</a:t>
            </a:r>
            <a:endParaRPr lang="en-US"/>
          </a:p>
        </p:txBody>
      </p:sp>
      <p:sp>
        <p:nvSpPr>
          <p:cNvPr id="32" name="Symbol zastępczy tekstu 10"/>
          <p:cNvSpPr>
            <a:spLocks noGrp="1"/>
          </p:cNvSpPr>
          <p:nvPr>
            <p:ph type="body" sz="quarter" idx="27" hasCustomPrompt="1"/>
          </p:nvPr>
        </p:nvSpPr>
        <p:spPr>
          <a:xfrm>
            <a:off x="822701" y="2300210"/>
            <a:ext cx="2554255" cy="1128790"/>
          </a:xfrm>
        </p:spPr>
        <p:txBody>
          <a:bodyPr>
            <a:normAutofit/>
          </a:bodyPr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pl-PL"/>
              <a:t>Active projects</a:t>
            </a:r>
            <a:endParaRPr lang="en-US"/>
          </a:p>
        </p:txBody>
      </p:sp>
      <p:pic>
        <p:nvPicPr>
          <p:cNvPr id="39" name="Obraz 3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2896" y="3652945"/>
            <a:ext cx="161912" cy="161912"/>
          </a:xfrm>
          <a:prstGeom prst="rect">
            <a:avLst/>
          </a:prstGeom>
        </p:spPr>
      </p:pic>
      <p:pic>
        <p:nvPicPr>
          <p:cNvPr id="40" name="Obraz 3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3185" y="1167106"/>
            <a:ext cx="226223" cy="178874"/>
          </a:xfrm>
          <a:prstGeom prst="rect">
            <a:avLst/>
          </a:prstGeom>
        </p:spPr>
      </p:pic>
      <p:pic>
        <p:nvPicPr>
          <p:cNvPr id="41" name="Obraz 4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64624" y="2373883"/>
            <a:ext cx="224784" cy="242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6957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UAL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pl-PL"/>
              <a:t>Edit Title for Manuals</a:t>
            </a:r>
            <a:endParaRPr lang="en-US"/>
          </a:p>
        </p:txBody>
      </p:sp>
      <p:sp>
        <p:nvSpPr>
          <p:cNvPr id="7" name="Symbol zastępczy zawartości 4"/>
          <p:cNvSpPr>
            <a:spLocks noGrp="1"/>
          </p:cNvSpPr>
          <p:nvPr>
            <p:ph sz="quarter" idx="11" hasCustomPrompt="1"/>
          </p:nvPr>
        </p:nvSpPr>
        <p:spPr>
          <a:xfrm>
            <a:off x="286942" y="1409701"/>
            <a:ext cx="4184754" cy="3244452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  <a:endParaRPr lang="en-US"/>
          </a:p>
        </p:txBody>
      </p:sp>
      <p:sp>
        <p:nvSpPr>
          <p:cNvPr id="8" name="Symbol zastępczy zawartości 4"/>
          <p:cNvSpPr>
            <a:spLocks noGrp="1"/>
          </p:cNvSpPr>
          <p:nvPr>
            <p:ph sz="quarter" idx="12" hasCustomPrompt="1"/>
          </p:nvPr>
        </p:nvSpPr>
        <p:spPr>
          <a:xfrm>
            <a:off x="4660641" y="1409701"/>
            <a:ext cx="4219769" cy="3244452"/>
          </a:xfrm>
        </p:spPr>
        <p:txBody>
          <a:bodyPr/>
          <a:lstStyle>
            <a:lvl1pPr marL="270000">
              <a:defRPr lang="pl-PL" smtClean="0"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5" name="Symbol zastępczy tekstu 3"/>
          <p:cNvSpPr>
            <a:spLocks noGrp="1"/>
          </p:cNvSpPr>
          <p:nvPr>
            <p:ph type="body" sz="quarter" idx="13" hasCustomPrompt="1"/>
          </p:nvPr>
        </p:nvSpPr>
        <p:spPr>
          <a:xfrm>
            <a:off x="286942" y="753114"/>
            <a:ext cx="8593469" cy="367903"/>
          </a:xfrm>
          <a:solidFill>
            <a:schemeClr val="accent3"/>
          </a:solidFill>
        </p:spPr>
        <p:txBody>
          <a:bodyPr>
            <a:noAutofit/>
          </a:bodyPr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  <a:lvl2pPr marL="244350" indent="0">
              <a:buNone/>
              <a:defRPr sz="1500"/>
            </a:lvl2pPr>
            <a:lvl3pPr marL="587250" indent="0">
              <a:buNone/>
              <a:defRPr sz="1500"/>
            </a:lvl3pPr>
            <a:lvl4pPr marL="930150" indent="0">
              <a:buNone/>
              <a:defRPr sz="1500"/>
            </a:lvl4pPr>
            <a:lvl5pPr marL="1273050" indent="0">
              <a:buNone/>
              <a:defRPr sz="1500"/>
            </a:lvl5pPr>
          </a:lstStyle>
          <a:p>
            <a:pPr lvl="0"/>
            <a:r>
              <a:rPr lang="pl-PL"/>
              <a:t>EDIT MANUALS SUBTITLE</a:t>
            </a:r>
          </a:p>
        </p:txBody>
      </p:sp>
    </p:spTree>
    <p:extLst>
      <p:ext uri="{BB962C8B-B14F-4D97-AF65-F5344CB8AC3E}">
        <p14:creationId xmlns:p14="http://schemas.microsoft.com/office/powerpoint/2010/main" val="30538997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ai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1" hasCustomPrompt="1"/>
          </p:nvPr>
        </p:nvSpPr>
        <p:spPr>
          <a:xfrm>
            <a:off x="286942" y="897731"/>
            <a:ext cx="4184754" cy="3756422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  <a:p>
            <a:pPr lvl="1"/>
            <a:r>
              <a:rPr lang="pl-PL"/>
              <a:t>Click to edit content</a:t>
            </a:r>
          </a:p>
          <a:p>
            <a:pPr lvl="2"/>
            <a:r>
              <a:rPr lang="pl-PL"/>
              <a:t>Click to edit content</a:t>
            </a:r>
          </a:p>
          <a:p>
            <a:pPr lvl="3"/>
            <a:r>
              <a:rPr lang="pl-PL"/>
              <a:t>Click to edit content</a:t>
            </a:r>
          </a:p>
          <a:p>
            <a:pPr lvl="4"/>
            <a:r>
              <a:rPr lang="pl-PL"/>
              <a:t>Click to edit content</a:t>
            </a:r>
          </a:p>
        </p:txBody>
      </p:sp>
      <p:sp>
        <p:nvSpPr>
          <p:cNvPr id="7" name="Symbol zastępczy zawartości 4"/>
          <p:cNvSpPr>
            <a:spLocks noGrp="1"/>
          </p:cNvSpPr>
          <p:nvPr>
            <p:ph sz="quarter" idx="12" hasCustomPrompt="1"/>
          </p:nvPr>
        </p:nvSpPr>
        <p:spPr>
          <a:xfrm>
            <a:off x="4695656" y="897731"/>
            <a:ext cx="4184754" cy="3756422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  <a:p>
            <a:pPr lvl="1"/>
            <a:r>
              <a:rPr lang="pl-PL"/>
              <a:t>Click to edit content</a:t>
            </a:r>
          </a:p>
          <a:p>
            <a:pPr lvl="2"/>
            <a:r>
              <a:rPr lang="pl-PL"/>
              <a:t>Click to edit content</a:t>
            </a:r>
          </a:p>
          <a:p>
            <a:pPr lvl="3"/>
            <a:r>
              <a:rPr lang="pl-PL"/>
              <a:t>Click to edit content</a:t>
            </a:r>
          </a:p>
          <a:p>
            <a:pPr lvl="4"/>
            <a:r>
              <a:rPr lang="pl-PL"/>
              <a:t>Click to edit content</a:t>
            </a:r>
          </a:p>
        </p:txBody>
      </p:sp>
    </p:spTree>
    <p:extLst>
      <p:ext uri="{BB962C8B-B14F-4D97-AF65-F5344CB8AC3E}">
        <p14:creationId xmlns:p14="http://schemas.microsoft.com/office/powerpoint/2010/main" val="27244450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quarter" idx="13" hasCustomPrompt="1"/>
          </p:nvPr>
        </p:nvSpPr>
        <p:spPr>
          <a:xfrm>
            <a:off x="286916" y="897732"/>
            <a:ext cx="4185047" cy="37564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pl-PL"/>
              <a:t>Up to seven lines of text.</a:t>
            </a:r>
            <a:endParaRPr lang="en-US"/>
          </a:p>
        </p:txBody>
      </p:sp>
      <p:sp>
        <p:nvSpPr>
          <p:cNvPr id="8" name="Symbol zastępczy tekstu 3"/>
          <p:cNvSpPr>
            <a:spLocks noGrp="1"/>
          </p:cNvSpPr>
          <p:nvPr>
            <p:ph type="body" sz="quarter" idx="14" hasCustomPrompt="1"/>
          </p:nvPr>
        </p:nvSpPr>
        <p:spPr>
          <a:xfrm>
            <a:off x="4695363" y="897732"/>
            <a:ext cx="4185047" cy="37564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pl-PL"/>
              <a:t>Up to seven lines of text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3215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ai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286942" y="897732"/>
            <a:ext cx="2762088" cy="3756422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6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3202619" y="897732"/>
            <a:ext cx="2762088" cy="3756422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7" name="Symbol zastępczy zawartości 4"/>
          <p:cNvSpPr>
            <a:spLocks noGrp="1"/>
          </p:cNvSpPr>
          <p:nvPr>
            <p:ph sz="quarter" idx="16" hasCustomPrompt="1"/>
          </p:nvPr>
        </p:nvSpPr>
        <p:spPr>
          <a:xfrm>
            <a:off x="6118322" y="897732"/>
            <a:ext cx="2762088" cy="3756422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</p:spTree>
    <p:extLst>
      <p:ext uri="{BB962C8B-B14F-4D97-AF65-F5344CB8AC3E}">
        <p14:creationId xmlns:p14="http://schemas.microsoft.com/office/powerpoint/2010/main" val="35737698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2 contai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9" name="Symbol zastępczy zawartości 4"/>
          <p:cNvSpPr>
            <a:spLocks noGrp="1"/>
          </p:cNvSpPr>
          <p:nvPr>
            <p:ph sz="quarter" idx="11" hasCustomPrompt="1"/>
          </p:nvPr>
        </p:nvSpPr>
        <p:spPr>
          <a:xfrm>
            <a:off x="286942" y="897731"/>
            <a:ext cx="4184754" cy="1826934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10" name="Symbol zastępczy zawartości 4"/>
          <p:cNvSpPr>
            <a:spLocks noGrp="1"/>
          </p:cNvSpPr>
          <p:nvPr>
            <p:ph sz="quarter" idx="13" hasCustomPrompt="1"/>
          </p:nvPr>
        </p:nvSpPr>
        <p:spPr>
          <a:xfrm>
            <a:off x="286942" y="2808073"/>
            <a:ext cx="4184754" cy="1846080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11" name="Symbol zastępczy zawartości 4"/>
          <p:cNvSpPr>
            <a:spLocks noGrp="1"/>
          </p:cNvSpPr>
          <p:nvPr>
            <p:ph sz="quarter" idx="14" hasCustomPrompt="1"/>
          </p:nvPr>
        </p:nvSpPr>
        <p:spPr>
          <a:xfrm>
            <a:off x="4695656" y="897731"/>
            <a:ext cx="4184754" cy="1826934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12" name="Symbol zastępczy zawartości 4"/>
          <p:cNvSpPr>
            <a:spLocks noGrp="1"/>
          </p:cNvSpPr>
          <p:nvPr>
            <p:ph sz="quarter" idx="15" hasCustomPrompt="1"/>
          </p:nvPr>
        </p:nvSpPr>
        <p:spPr>
          <a:xfrm>
            <a:off x="4695656" y="2808073"/>
            <a:ext cx="4184754" cy="1846080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</p:spTree>
    <p:extLst>
      <p:ext uri="{BB962C8B-B14F-4D97-AF65-F5344CB8AC3E}">
        <p14:creationId xmlns:p14="http://schemas.microsoft.com/office/powerpoint/2010/main" val="10565820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+2 contai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5" name="Symbol zastępczy zawartości 4"/>
          <p:cNvSpPr>
            <a:spLocks noGrp="1"/>
          </p:cNvSpPr>
          <p:nvPr>
            <p:ph sz="quarter" idx="11" hasCustomPrompt="1"/>
          </p:nvPr>
        </p:nvSpPr>
        <p:spPr>
          <a:xfrm>
            <a:off x="4695656" y="897731"/>
            <a:ext cx="4184754" cy="1826934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6" name="Symbol zastępczy zawartości 4"/>
          <p:cNvSpPr>
            <a:spLocks noGrp="1"/>
          </p:cNvSpPr>
          <p:nvPr>
            <p:ph sz="quarter" idx="13" hasCustomPrompt="1"/>
          </p:nvPr>
        </p:nvSpPr>
        <p:spPr>
          <a:xfrm>
            <a:off x="4695656" y="2808073"/>
            <a:ext cx="4184754" cy="1846080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</p:txBody>
      </p:sp>
      <p:sp>
        <p:nvSpPr>
          <p:cNvPr id="9" name="Symbol zastępczy zawartości 4"/>
          <p:cNvSpPr>
            <a:spLocks noGrp="1"/>
          </p:cNvSpPr>
          <p:nvPr>
            <p:ph sz="quarter" idx="12" hasCustomPrompt="1"/>
          </p:nvPr>
        </p:nvSpPr>
        <p:spPr>
          <a:xfrm>
            <a:off x="286916" y="897731"/>
            <a:ext cx="4184754" cy="3756422"/>
          </a:xfrm>
        </p:spPr>
        <p:txBody>
          <a:bodyPr/>
          <a:lstStyle>
            <a:lvl1pPr marL="270000">
              <a:defRPr/>
            </a:lvl1pPr>
          </a:lstStyle>
          <a:p>
            <a:pPr lvl="0"/>
            <a:r>
              <a:rPr lang="pl-PL"/>
              <a:t>Click to edit content</a:t>
            </a:r>
          </a:p>
          <a:p>
            <a:pPr lvl="1"/>
            <a:r>
              <a:rPr lang="pl-PL"/>
              <a:t>Click to edit content</a:t>
            </a:r>
          </a:p>
          <a:p>
            <a:pPr lvl="2"/>
            <a:r>
              <a:rPr lang="pl-PL"/>
              <a:t>Click to edit content</a:t>
            </a:r>
          </a:p>
          <a:p>
            <a:pPr lvl="3"/>
            <a:r>
              <a:rPr lang="pl-PL"/>
              <a:t>Click to edit content</a:t>
            </a:r>
          </a:p>
          <a:p>
            <a:pPr lvl="4"/>
            <a:r>
              <a:rPr lang="pl-PL"/>
              <a:t>Click to edit content</a:t>
            </a:r>
          </a:p>
        </p:txBody>
      </p:sp>
    </p:spTree>
    <p:extLst>
      <p:ext uri="{BB962C8B-B14F-4D97-AF65-F5344CB8AC3E}">
        <p14:creationId xmlns:p14="http://schemas.microsoft.com/office/powerpoint/2010/main" val="13703388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5630012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7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286917" y="273844"/>
            <a:ext cx="8593493" cy="376967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286917" y="897731"/>
            <a:ext cx="8593493" cy="3734991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  <a:endParaRPr lang="en-US" dirty="0"/>
          </a:p>
        </p:txBody>
      </p:sp>
      <p:sp>
        <p:nvSpPr>
          <p:cNvPr id="8" name="PoleTekstowe 1"/>
          <p:cNvSpPr txBox="1"/>
          <p:nvPr/>
        </p:nvSpPr>
        <p:spPr>
          <a:xfrm>
            <a:off x="286916" y="4849152"/>
            <a:ext cx="678712" cy="16158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indent="0" algn="l">
              <a:lnSpc>
                <a:spcPct val="100000"/>
              </a:lnSpc>
            </a:pPr>
            <a:r>
              <a:rPr lang="pl-PL" sz="600" b="0" dirty="0">
                <a:solidFill>
                  <a:schemeClr val="accent1"/>
                </a:solidFill>
                <a:latin typeface="+mj-lt"/>
                <a:cs typeface="Open Sans"/>
              </a:rPr>
              <a:t>www.luxoft.com</a:t>
            </a:r>
          </a:p>
        </p:txBody>
      </p:sp>
      <p:pic>
        <p:nvPicPr>
          <p:cNvPr id="7" name="Obraz 6" descr="luxoft-logo.emf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3125" y="4828551"/>
            <a:ext cx="413882" cy="214579"/>
          </a:xfrm>
          <a:prstGeom prst="rect">
            <a:avLst/>
          </a:prstGeom>
        </p:spPr>
      </p:pic>
      <p:sp>
        <p:nvSpPr>
          <p:cNvPr id="10" name="Rectangle 4"/>
          <p:cNvSpPr/>
          <p:nvPr/>
        </p:nvSpPr>
        <p:spPr>
          <a:xfrm>
            <a:off x="8588182" y="5087682"/>
            <a:ext cx="555818" cy="57421"/>
          </a:xfrm>
          <a:custGeom>
            <a:avLst/>
            <a:gdLst/>
            <a:ahLst/>
            <a:cxnLst/>
            <a:rect l="l" t="t" r="r" b="b"/>
            <a:pathLst>
              <a:path w="555818" h="57421">
                <a:moveTo>
                  <a:pt x="57421" y="0"/>
                </a:moveTo>
                <a:lnTo>
                  <a:pt x="555818" y="0"/>
                </a:lnTo>
                <a:lnTo>
                  <a:pt x="555818" y="57421"/>
                </a:lnTo>
                <a:lnTo>
                  <a:pt x="0" y="57421"/>
                </a:lnTo>
                <a:close/>
              </a:path>
            </a:pathLst>
          </a:custGeom>
          <a:solidFill>
            <a:srgbClr val="FFE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5724524" y="5087682"/>
            <a:ext cx="2863659" cy="58443"/>
          </a:xfrm>
          <a:custGeom>
            <a:avLst/>
            <a:gdLst/>
            <a:ahLst/>
            <a:cxnLst/>
            <a:rect l="l" t="t" r="r" b="b"/>
            <a:pathLst>
              <a:path w="2863659" h="58443">
                <a:moveTo>
                  <a:pt x="0" y="0"/>
                </a:moveTo>
                <a:lnTo>
                  <a:pt x="92107" y="0"/>
                </a:lnTo>
                <a:lnTo>
                  <a:pt x="2806238" y="0"/>
                </a:lnTo>
                <a:lnTo>
                  <a:pt x="2863659" y="57421"/>
                </a:lnTo>
                <a:lnTo>
                  <a:pt x="92107" y="57421"/>
                </a:lnTo>
                <a:lnTo>
                  <a:pt x="92107" y="58443"/>
                </a:lnTo>
                <a:lnTo>
                  <a:pt x="0" y="58443"/>
                </a:lnTo>
                <a:close/>
              </a:path>
            </a:pathLst>
          </a:custGeom>
          <a:solidFill>
            <a:srgbClr val="E25A1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-4" y="5087682"/>
            <a:ext cx="2862264" cy="58443"/>
          </a:xfrm>
          <a:prstGeom prst="rect">
            <a:avLst/>
          </a:prstGeom>
          <a:solidFill>
            <a:srgbClr val="043B7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Rectangle 6"/>
          <p:cNvSpPr>
            <a:spLocks noChangeArrowheads="1"/>
          </p:cNvSpPr>
          <p:nvPr/>
        </p:nvSpPr>
        <p:spPr bwMode="auto">
          <a:xfrm>
            <a:off x="2862260" y="5087682"/>
            <a:ext cx="2862264" cy="58443"/>
          </a:xfrm>
          <a:prstGeom prst="rect">
            <a:avLst/>
          </a:prstGeom>
          <a:solidFill>
            <a:srgbClr val="C0195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703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52" r:id="rId2"/>
    <p:sldLayoutId id="2147483650" r:id="rId3"/>
    <p:sldLayoutId id="2147483662" r:id="rId4"/>
    <p:sldLayoutId id="2147483651" r:id="rId5"/>
    <p:sldLayoutId id="2147483663" r:id="rId6"/>
    <p:sldLayoutId id="2147483684" r:id="rId7"/>
    <p:sldLayoutId id="2147483666" r:id="rId8"/>
    <p:sldLayoutId id="2147483668" r:id="rId9"/>
    <p:sldLayoutId id="2147483667" r:id="rId10"/>
    <p:sldLayoutId id="2147483664" r:id="rId11"/>
    <p:sldLayoutId id="2147483665" r:id="rId12"/>
    <p:sldLayoutId id="2147483678" r:id="rId13"/>
    <p:sldLayoutId id="2147483669" r:id="rId14"/>
    <p:sldLayoutId id="2147483670" r:id="rId15"/>
    <p:sldLayoutId id="2147483653" r:id="rId16"/>
    <p:sldLayoutId id="2147483692" r:id="rId17"/>
    <p:sldLayoutId id="2147483677" r:id="rId18"/>
    <p:sldLayoutId id="2147483687" r:id="rId19"/>
    <p:sldLayoutId id="2147483693" r:id="rId20"/>
    <p:sldLayoutId id="2147483697" r:id="rId21"/>
    <p:sldLayoutId id="2147483698" r:id="rId22"/>
    <p:sldLayoutId id="2147483699" r:id="rId23"/>
  </p:sldLayoutIdLst>
  <p:txStyles>
    <p:titleStyle>
      <a:lvl1pPr algn="l" defTabSz="685800" rtl="0" eaLnBrk="1" latinLnBrk="0" hangingPunct="1">
        <a:lnSpc>
          <a:spcPct val="100000"/>
        </a:lnSpc>
        <a:spcBef>
          <a:spcPts val="450"/>
        </a:spcBef>
        <a:spcAft>
          <a:spcPts val="450"/>
        </a:spcAft>
        <a:buNone/>
        <a:defRPr sz="2300" b="1" kern="1200">
          <a:solidFill>
            <a:srgbClr val="EB571C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270000" indent="-270000" algn="l" defTabSz="685800" rtl="0" eaLnBrk="1" latinLnBrk="0" hangingPunct="1">
        <a:lnSpc>
          <a:spcPct val="130000"/>
        </a:lnSpc>
        <a:spcBef>
          <a:spcPts val="450"/>
        </a:spcBef>
        <a:spcAft>
          <a:spcPts val="450"/>
        </a:spcAft>
        <a:buClr>
          <a:srgbClr val="EB571C"/>
        </a:buClr>
        <a:buFont typeface="Wingdings" panose="05000000000000000000" pitchFamily="2" charset="2"/>
        <a:buChar char="w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270000" algn="l" defTabSz="685800" rtl="0" eaLnBrk="1" latinLnBrk="0" hangingPunct="1">
        <a:lnSpc>
          <a:spcPct val="130000"/>
        </a:lnSpc>
        <a:spcBef>
          <a:spcPts val="450"/>
        </a:spcBef>
        <a:spcAft>
          <a:spcPts val="450"/>
        </a:spcAft>
        <a:buClr>
          <a:srgbClr val="EB571C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270000" algn="l" defTabSz="685800" rtl="0" eaLnBrk="1" latinLnBrk="0" hangingPunct="1">
        <a:lnSpc>
          <a:spcPct val="130000"/>
        </a:lnSpc>
        <a:spcBef>
          <a:spcPts val="450"/>
        </a:spcBef>
        <a:spcAft>
          <a:spcPts val="450"/>
        </a:spcAft>
        <a:buClr>
          <a:srgbClr val="24447D"/>
        </a:buClr>
        <a:buFont typeface="Wingdings" panose="05000000000000000000" pitchFamily="2" charset="2"/>
        <a:buChar char="w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270000" algn="l" defTabSz="685800" rtl="0" eaLnBrk="1" latinLnBrk="0" hangingPunct="1">
        <a:lnSpc>
          <a:spcPct val="130000"/>
        </a:lnSpc>
        <a:spcBef>
          <a:spcPts val="450"/>
        </a:spcBef>
        <a:spcAft>
          <a:spcPts val="450"/>
        </a:spcAft>
        <a:buClr>
          <a:srgbClr val="24447D"/>
        </a:buClr>
        <a:buFont typeface="Arial" panose="020B0604020202020204" pitchFamily="34" charset="0"/>
        <a:buChar char="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270000" algn="l" defTabSz="685800" rtl="0" eaLnBrk="1" latinLnBrk="0" hangingPunct="1">
        <a:lnSpc>
          <a:spcPct val="130000"/>
        </a:lnSpc>
        <a:spcBef>
          <a:spcPts val="450"/>
        </a:spcBef>
        <a:spcAft>
          <a:spcPts val="450"/>
        </a:spcAft>
        <a:buClr>
          <a:srgbClr val="EB571C"/>
        </a:buClr>
        <a:buFont typeface="Wingdings" panose="05000000000000000000" pitchFamily="2" charset="2"/>
        <a:buChar char="w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286917" y="273844"/>
            <a:ext cx="8593493" cy="376967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r>
              <a:rPr lang="pl-PL"/>
              <a:t>Edit Title</a:t>
            </a:r>
            <a:endParaRPr lang="en-US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286917" y="897731"/>
            <a:ext cx="8593493" cy="3734991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pl-PL" dirty="0"/>
              <a:t>Click to edit content</a:t>
            </a:r>
          </a:p>
          <a:p>
            <a:pPr lvl="1"/>
            <a:r>
              <a:rPr lang="pl-PL" dirty="0"/>
              <a:t>Click to edit content</a:t>
            </a:r>
          </a:p>
          <a:p>
            <a:pPr lvl="2"/>
            <a:r>
              <a:rPr lang="pl-PL" dirty="0"/>
              <a:t>Click to edit content</a:t>
            </a:r>
          </a:p>
          <a:p>
            <a:pPr lvl="3"/>
            <a:r>
              <a:rPr lang="pl-PL" dirty="0"/>
              <a:t>Click to edit content</a:t>
            </a:r>
          </a:p>
          <a:p>
            <a:pPr lvl="4"/>
            <a:r>
              <a:rPr lang="pl-PL" dirty="0"/>
              <a:t>Click to edit content</a:t>
            </a:r>
            <a:endParaRPr lang="en-US" dirty="0"/>
          </a:p>
        </p:txBody>
      </p:sp>
      <p:sp>
        <p:nvSpPr>
          <p:cNvPr id="26" name="PoleTekstowe 1"/>
          <p:cNvSpPr txBox="1"/>
          <p:nvPr/>
        </p:nvSpPr>
        <p:spPr>
          <a:xfrm>
            <a:off x="286916" y="4849152"/>
            <a:ext cx="678712" cy="16158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indent="0" algn="l">
              <a:lnSpc>
                <a:spcPct val="100000"/>
              </a:lnSpc>
            </a:pPr>
            <a:r>
              <a:rPr lang="pl-PL" sz="600" b="0" dirty="0">
                <a:solidFill>
                  <a:schemeClr val="accent1"/>
                </a:solidFill>
                <a:latin typeface="+mj-lt"/>
                <a:cs typeface="Open Sans"/>
              </a:rPr>
              <a:t>www.luxoft.com</a:t>
            </a:r>
          </a:p>
        </p:txBody>
      </p:sp>
      <p:pic>
        <p:nvPicPr>
          <p:cNvPr id="30" name="Obraz 6" descr="luxoft-logo.emf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3125" y="4828551"/>
            <a:ext cx="413882" cy="214579"/>
          </a:xfrm>
          <a:prstGeom prst="rect">
            <a:avLst/>
          </a:prstGeom>
        </p:spPr>
      </p:pic>
      <p:sp>
        <p:nvSpPr>
          <p:cNvPr id="10" name="Rectangle 4"/>
          <p:cNvSpPr/>
          <p:nvPr/>
        </p:nvSpPr>
        <p:spPr>
          <a:xfrm>
            <a:off x="8588182" y="5087682"/>
            <a:ext cx="555818" cy="57421"/>
          </a:xfrm>
          <a:custGeom>
            <a:avLst/>
            <a:gdLst/>
            <a:ahLst/>
            <a:cxnLst/>
            <a:rect l="l" t="t" r="r" b="b"/>
            <a:pathLst>
              <a:path w="555818" h="57421">
                <a:moveTo>
                  <a:pt x="57421" y="0"/>
                </a:moveTo>
                <a:lnTo>
                  <a:pt x="555818" y="0"/>
                </a:lnTo>
                <a:lnTo>
                  <a:pt x="555818" y="57421"/>
                </a:lnTo>
                <a:lnTo>
                  <a:pt x="0" y="57421"/>
                </a:lnTo>
                <a:close/>
              </a:path>
            </a:pathLst>
          </a:custGeom>
          <a:solidFill>
            <a:srgbClr val="FFE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5724524" y="5087682"/>
            <a:ext cx="2863659" cy="58443"/>
          </a:xfrm>
          <a:custGeom>
            <a:avLst/>
            <a:gdLst/>
            <a:ahLst/>
            <a:cxnLst/>
            <a:rect l="l" t="t" r="r" b="b"/>
            <a:pathLst>
              <a:path w="2863659" h="58443">
                <a:moveTo>
                  <a:pt x="0" y="0"/>
                </a:moveTo>
                <a:lnTo>
                  <a:pt x="92107" y="0"/>
                </a:lnTo>
                <a:lnTo>
                  <a:pt x="2806238" y="0"/>
                </a:lnTo>
                <a:lnTo>
                  <a:pt x="2863659" y="57421"/>
                </a:lnTo>
                <a:lnTo>
                  <a:pt x="92107" y="57421"/>
                </a:lnTo>
                <a:lnTo>
                  <a:pt x="92107" y="58443"/>
                </a:lnTo>
                <a:lnTo>
                  <a:pt x="0" y="58443"/>
                </a:lnTo>
                <a:close/>
              </a:path>
            </a:pathLst>
          </a:custGeom>
          <a:solidFill>
            <a:srgbClr val="E25A1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-4" y="5087682"/>
            <a:ext cx="2862264" cy="58443"/>
          </a:xfrm>
          <a:prstGeom prst="rect">
            <a:avLst/>
          </a:prstGeom>
          <a:solidFill>
            <a:srgbClr val="043B7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Rectangle 6"/>
          <p:cNvSpPr>
            <a:spLocks noChangeArrowheads="1"/>
          </p:cNvSpPr>
          <p:nvPr/>
        </p:nvSpPr>
        <p:spPr bwMode="auto">
          <a:xfrm>
            <a:off x="2862260" y="5087682"/>
            <a:ext cx="2862264" cy="58443"/>
          </a:xfrm>
          <a:prstGeom prst="rect">
            <a:avLst/>
          </a:prstGeom>
          <a:solidFill>
            <a:srgbClr val="C0195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91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55" r:id="rId2"/>
    <p:sldLayoutId id="2147483656" r:id="rId3"/>
    <p:sldLayoutId id="2147483682" r:id="rId4"/>
    <p:sldLayoutId id="2147483657" r:id="rId5"/>
    <p:sldLayoutId id="2147483683" r:id="rId6"/>
    <p:sldLayoutId id="2147483685" r:id="rId7"/>
    <p:sldLayoutId id="2147483673" r:id="rId8"/>
    <p:sldLayoutId id="2147483674" r:id="rId9"/>
    <p:sldLayoutId id="2147483675" r:id="rId10"/>
    <p:sldLayoutId id="2147483659" r:id="rId11"/>
    <p:sldLayoutId id="2147483661" r:id="rId12"/>
    <p:sldLayoutId id="2147483671" r:id="rId13"/>
    <p:sldLayoutId id="2147483672" r:id="rId14"/>
    <p:sldLayoutId id="2147483688" r:id="rId15"/>
    <p:sldLayoutId id="2147483691" r:id="rId16"/>
    <p:sldLayoutId id="2147483690" r:id="rId17"/>
    <p:sldLayoutId id="2147483689" r:id="rId18"/>
    <p:sldLayoutId id="2147483660" r:id="rId19"/>
  </p:sldLayoutIdLst>
  <p:txStyles>
    <p:titleStyle>
      <a:lvl1pPr algn="l" defTabSz="685800" rtl="0" eaLnBrk="1" latinLnBrk="0" hangingPunct="1">
        <a:lnSpc>
          <a:spcPct val="100000"/>
        </a:lnSpc>
        <a:spcBef>
          <a:spcPts val="450"/>
        </a:spcBef>
        <a:spcAft>
          <a:spcPts val="450"/>
        </a:spcAft>
        <a:buNone/>
        <a:defRPr sz="2300" b="1" kern="1200">
          <a:solidFill>
            <a:srgbClr val="EB571C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270000" indent="-270000" algn="l" defTabSz="685800" rtl="0" eaLnBrk="1" latinLnBrk="0" hangingPunct="1">
        <a:lnSpc>
          <a:spcPct val="130000"/>
        </a:lnSpc>
        <a:spcBef>
          <a:spcPts val="450"/>
        </a:spcBef>
        <a:spcAft>
          <a:spcPts val="450"/>
        </a:spcAft>
        <a:buClr>
          <a:srgbClr val="EB571C"/>
        </a:buClr>
        <a:buFont typeface="Wingdings" panose="05000000000000000000" pitchFamily="2" charset="2"/>
        <a:buChar char="w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270000" algn="l" defTabSz="685800" rtl="0" eaLnBrk="1" latinLnBrk="0" hangingPunct="1">
        <a:lnSpc>
          <a:spcPct val="130000"/>
        </a:lnSpc>
        <a:spcBef>
          <a:spcPts val="450"/>
        </a:spcBef>
        <a:spcAft>
          <a:spcPts val="450"/>
        </a:spcAft>
        <a:buClr>
          <a:srgbClr val="EB571C"/>
        </a:buClr>
        <a:buFont typeface="Arial" panose="020B0604020202020204" pitchFamily="34" charset="0"/>
        <a:buChar char="­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270000" algn="l" defTabSz="685800" rtl="0" eaLnBrk="1" latinLnBrk="0" hangingPunct="1">
        <a:lnSpc>
          <a:spcPct val="130000"/>
        </a:lnSpc>
        <a:spcBef>
          <a:spcPts val="450"/>
        </a:spcBef>
        <a:spcAft>
          <a:spcPts val="450"/>
        </a:spcAft>
        <a:buClr>
          <a:srgbClr val="24447D"/>
        </a:buClr>
        <a:buFont typeface="Wingdings" panose="05000000000000000000" pitchFamily="2" charset="2"/>
        <a:buChar char="w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270000" algn="l" defTabSz="685800" rtl="0" eaLnBrk="1" latinLnBrk="0" hangingPunct="1">
        <a:lnSpc>
          <a:spcPct val="130000"/>
        </a:lnSpc>
        <a:spcBef>
          <a:spcPts val="450"/>
        </a:spcBef>
        <a:spcAft>
          <a:spcPts val="450"/>
        </a:spcAft>
        <a:buClr>
          <a:srgbClr val="24447D"/>
        </a:buClr>
        <a:buFont typeface="Arial" panose="020B0604020202020204" pitchFamily="34" charset="0"/>
        <a:buChar char="­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270000" algn="l" defTabSz="685800" rtl="0" eaLnBrk="1" latinLnBrk="0" hangingPunct="1">
        <a:lnSpc>
          <a:spcPct val="130000"/>
        </a:lnSpc>
        <a:spcBef>
          <a:spcPts val="450"/>
        </a:spcBef>
        <a:spcAft>
          <a:spcPts val="450"/>
        </a:spcAft>
        <a:buClr>
          <a:srgbClr val="EB571C"/>
        </a:buClr>
        <a:buFont typeface="Wingdings" panose="05000000000000000000" pitchFamily="2" charset="2"/>
        <a:buChar char="w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1926" y="3885344"/>
            <a:ext cx="3644336" cy="630622"/>
          </a:xfrm>
        </p:spPr>
        <p:txBody>
          <a:bodyPr/>
          <a:lstStyle/>
          <a:p>
            <a:r>
              <a:rPr lang="en-US" sz="1200" b="1" dirty="0"/>
              <a:t>December, 2018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81926" y="2607558"/>
            <a:ext cx="3644336" cy="387234"/>
          </a:xfrm>
        </p:spPr>
        <p:txBody>
          <a:bodyPr/>
          <a:lstStyle/>
          <a:p>
            <a:r>
              <a:rPr lang="en-US" dirty="0"/>
              <a:t>BLOCKCHAIN SOLUTIONS FOR BUSINESS</a:t>
            </a:r>
          </a:p>
          <a:p>
            <a:r>
              <a:rPr lang="en-US" dirty="0"/>
              <a:t>HACKATHON</a:t>
            </a:r>
          </a:p>
        </p:txBody>
      </p:sp>
    </p:spTree>
    <p:extLst>
      <p:ext uri="{BB962C8B-B14F-4D97-AF65-F5344CB8AC3E}">
        <p14:creationId xmlns:p14="http://schemas.microsoft.com/office/powerpoint/2010/main" val="7906875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86917" y="650811"/>
            <a:ext cx="7935503" cy="464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2"/>
              </a:buClr>
              <a:buFont typeface="Wingdings" panose="05000000000000000000" pitchFamily="2" charset="2"/>
              <a:buChar char="w"/>
            </a:pPr>
            <a:r>
              <a:rPr lang="en-US" sz="1800" dirty="0">
                <a:solidFill>
                  <a:srgbClr val="002060"/>
                </a:solidFill>
              </a:rPr>
              <a:t>What is it? Why is it valuable?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286917" y="273844"/>
            <a:ext cx="8593493" cy="376967"/>
          </a:xfrm>
        </p:spPr>
        <p:txBody>
          <a:bodyPr/>
          <a:lstStyle/>
          <a:p>
            <a:r>
              <a:rPr lang="en-US" altLang="en-US" dirty="0"/>
              <a:t>OUR BIG IDEA</a:t>
            </a:r>
          </a:p>
        </p:txBody>
      </p:sp>
    </p:spTree>
    <p:extLst>
      <p:ext uri="{BB962C8B-B14F-4D97-AF65-F5344CB8AC3E}">
        <p14:creationId xmlns:p14="http://schemas.microsoft.com/office/powerpoint/2010/main" val="1309794453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286917" y="273844"/>
            <a:ext cx="8593493" cy="376967"/>
          </a:xfrm>
        </p:spPr>
        <p:txBody>
          <a:bodyPr/>
          <a:lstStyle/>
          <a:p>
            <a:r>
              <a:rPr lang="en-US" altLang="en-US" dirty="0"/>
              <a:t>KEY FEATURES</a:t>
            </a:r>
          </a:p>
        </p:txBody>
      </p:sp>
    </p:spTree>
    <p:extLst>
      <p:ext uri="{BB962C8B-B14F-4D97-AF65-F5344CB8AC3E}">
        <p14:creationId xmlns:p14="http://schemas.microsoft.com/office/powerpoint/2010/main" val="1488541168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286917" y="273844"/>
            <a:ext cx="8593493" cy="376967"/>
          </a:xfrm>
        </p:spPr>
        <p:txBody>
          <a:bodyPr/>
          <a:lstStyle/>
          <a:p>
            <a:r>
              <a:rPr lang="en-US" altLang="en-US" dirty="0"/>
              <a:t>OUR TARGET AUDIEN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C337A1C-C097-3949-9ACA-762C4373C40E}"/>
              </a:ext>
            </a:extLst>
          </p:cNvPr>
          <p:cNvSpPr/>
          <p:nvPr/>
        </p:nvSpPr>
        <p:spPr>
          <a:xfrm>
            <a:off x="286917" y="650811"/>
            <a:ext cx="7935503" cy="464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2"/>
              </a:buClr>
              <a:buFont typeface="Wingdings" panose="05000000000000000000" pitchFamily="2" charset="2"/>
              <a:buChar char="w"/>
            </a:pPr>
            <a:r>
              <a:rPr lang="en-US" sz="1800" dirty="0">
                <a:solidFill>
                  <a:srgbClr val="002060"/>
                </a:solidFill>
              </a:rPr>
              <a:t>Whom does it affect?  Who’ll benefit from your project?</a:t>
            </a:r>
          </a:p>
        </p:txBody>
      </p:sp>
    </p:spTree>
    <p:extLst>
      <p:ext uri="{BB962C8B-B14F-4D97-AF65-F5344CB8AC3E}">
        <p14:creationId xmlns:p14="http://schemas.microsoft.com/office/powerpoint/2010/main" val="1884950552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86917" y="650811"/>
            <a:ext cx="7935503" cy="464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2"/>
              </a:buClr>
              <a:buFont typeface="Wingdings" panose="05000000000000000000" pitchFamily="2" charset="2"/>
              <a:buChar char="w"/>
            </a:pPr>
            <a:r>
              <a:rPr lang="en-US" sz="1800" dirty="0">
                <a:solidFill>
                  <a:srgbClr val="002060"/>
                </a:solidFill>
              </a:rPr>
              <a:t>What is your monetization model? Are you planning any integrations?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286917" y="273844"/>
            <a:ext cx="8593493" cy="376967"/>
          </a:xfrm>
        </p:spPr>
        <p:txBody>
          <a:bodyPr/>
          <a:lstStyle/>
          <a:p>
            <a:r>
              <a:rPr lang="en-US" altLang="en-US" dirty="0"/>
              <a:t>THAT’S HOW WE MAKE MONEY</a:t>
            </a:r>
          </a:p>
        </p:txBody>
      </p:sp>
    </p:spTree>
    <p:extLst>
      <p:ext uri="{BB962C8B-B14F-4D97-AF65-F5344CB8AC3E}">
        <p14:creationId xmlns:p14="http://schemas.microsoft.com/office/powerpoint/2010/main" val="166699474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86917" y="650811"/>
            <a:ext cx="7935503" cy="464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2"/>
              </a:buClr>
              <a:buFont typeface="Wingdings" panose="05000000000000000000" pitchFamily="2" charset="2"/>
              <a:buChar char="w"/>
            </a:pPr>
            <a:r>
              <a:rPr lang="en-US" sz="1800" dirty="0">
                <a:solidFill>
                  <a:srgbClr val="002060"/>
                </a:solidFill>
              </a:rPr>
              <a:t>Who are your key competitors? What are your competitive advantages?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286917" y="273844"/>
            <a:ext cx="8593493" cy="376967"/>
          </a:xfrm>
        </p:spPr>
        <p:txBody>
          <a:bodyPr/>
          <a:lstStyle/>
          <a:p>
            <a:r>
              <a:rPr lang="en-US" altLang="en-US" dirty="0"/>
              <a:t>COMPETITORS</a:t>
            </a:r>
          </a:p>
        </p:txBody>
      </p:sp>
    </p:spTree>
    <p:extLst>
      <p:ext uri="{BB962C8B-B14F-4D97-AF65-F5344CB8AC3E}">
        <p14:creationId xmlns:p14="http://schemas.microsoft.com/office/powerpoint/2010/main" val="2430152022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01E9580-76AB-4F43-B9E8-A58915C64812}"/>
              </a:ext>
            </a:extLst>
          </p:cNvPr>
          <p:cNvSpPr/>
          <p:nvPr/>
        </p:nvSpPr>
        <p:spPr>
          <a:xfrm>
            <a:off x="0" y="0"/>
            <a:ext cx="3691467" cy="5143500"/>
          </a:xfrm>
          <a:prstGeom prst="rect">
            <a:avLst/>
          </a:prstGeom>
          <a:solidFill>
            <a:srgbClr val="15559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11A12E0-D779-B147-8C78-C0E4D39232CA}"/>
              </a:ext>
            </a:extLst>
          </p:cNvPr>
          <p:cNvSpPr txBox="1">
            <a:spLocks/>
          </p:cNvSpPr>
          <p:nvPr/>
        </p:nvSpPr>
        <p:spPr>
          <a:xfrm>
            <a:off x="456250" y="256911"/>
            <a:ext cx="8593493" cy="376967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None/>
              <a:defRPr sz="2300" b="1" kern="1200">
                <a:solidFill>
                  <a:srgbClr val="EB571C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altLang="en-US" dirty="0">
                <a:solidFill>
                  <a:schemeClr val="bg1"/>
                </a:solidFill>
              </a:rPr>
              <a:t>VALUE PROPOSI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ADE2D65-0A4D-0042-918E-93B997619BC6}"/>
              </a:ext>
            </a:extLst>
          </p:cNvPr>
          <p:cNvSpPr txBox="1"/>
          <p:nvPr/>
        </p:nvSpPr>
        <p:spPr>
          <a:xfrm>
            <a:off x="384241" y="784821"/>
            <a:ext cx="287115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</a:rPr>
              <a:t>Valu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1. Worth or usefulness or importance to the possessor; utility or merit. </a:t>
            </a:r>
          </a:p>
          <a:p>
            <a:r>
              <a:rPr lang="en-US" dirty="0">
                <a:solidFill>
                  <a:schemeClr val="bg1"/>
                </a:solidFill>
              </a:rPr>
              <a:t>2. A principle, standard, or quality considered worthwhile or desirable. 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</a:rPr>
              <a:t>Proposition 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A plan suggested for acceptance; a proposal 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i="1" dirty="0">
                <a:solidFill>
                  <a:schemeClr val="bg1"/>
                </a:solidFill>
              </a:rPr>
              <a:t>The American Heritage College Dictionary, 3rd Edition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3B72780B-4923-774E-B062-FB7AA36660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0308" y="278890"/>
            <a:ext cx="3472283" cy="376967"/>
          </a:xfrm>
        </p:spPr>
        <p:txBody>
          <a:bodyPr/>
          <a:lstStyle/>
          <a:p>
            <a:r>
              <a:rPr lang="en-US" altLang="en-US" dirty="0"/>
              <a:t>USEFUL HINT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53403F2-A54C-F24E-BEDB-F604DB26078C}"/>
              </a:ext>
            </a:extLst>
          </p:cNvPr>
          <p:cNvSpPr txBox="1"/>
          <p:nvPr/>
        </p:nvSpPr>
        <p:spPr>
          <a:xfrm>
            <a:off x="4075708" y="1011252"/>
            <a:ext cx="4407462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en describing the benefits of your product/service, it helps to frame your offerings </a:t>
            </a:r>
            <a:r>
              <a:rPr lang="en-US" b="1" dirty="0"/>
              <a:t>in terms of the target market’s needs and pain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company’s value proposition should </a:t>
            </a:r>
            <a:r>
              <a:rPr lang="en-US" b="1" dirty="0"/>
              <a:t>convince a potential customer </a:t>
            </a:r>
            <a:r>
              <a:rPr lang="en-US" dirty="0"/>
              <a:t>that their product or service will </a:t>
            </a:r>
            <a:r>
              <a:rPr lang="en-US" b="1" dirty="0"/>
              <a:t>add more value or better solve a problem </a:t>
            </a:r>
            <a:r>
              <a:rPr lang="en-US" dirty="0"/>
              <a:t>than other similar offering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b="1" dirty="0"/>
          </a:p>
          <a:p>
            <a:r>
              <a:rPr lang="en-US" b="1" dirty="0"/>
              <a:t>	PURPOSE OF A VALUE PROPOSITION </a:t>
            </a:r>
          </a:p>
          <a:p>
            <a:endParaRPr lang="en-US" b="1" dirty="0"/>
          </a:p>
          <a:p>
            <a:r>
              <a:rPr lang="en-US" dirty="0"/>
              <a:t>	While value propositions take many forms, they 	all provide a unified statement of how benefits 	are created and delivered to the customer</a:t>
            </a:r>
            <a:r>
              <a:rPr lang="en-US" i="1" dirty="0"/>
              <a:t>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1678255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2" name="Shape 3142"/>
          <p:cNvSpPr txBox="1">
            <a:spLocks noGrp="1"/>
          </p:cNvSpPr>
          <p:nvPr>
            <p:ph type="title"/>
          </p:nvPr>
        </p:nvSpPr>
        <p:spPr>
          <a:xfrm>
            <a:off x="581926" y="2225557"/>
            <a:ext cx="3644336" cy="376967"/>
          </a:xfrm>
          <a:prstGeom prst="rect">
            <a:avLst/>
          </a:prstGeom>
          <a:noFill/>
          <a:ln>
            <a:noFill/>
          </a:ln>
        </p:spPr>
        <p:txBody>
          <a:bodyPr wrap="square" lIns="68571" tIns="34274" rIns="68571" bIns="34274" anchor="ctr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SzPct val="25000"/>
            </a:pPr>
            <a:r>
              <a:rPr lang="pl-PL" dirty="0" err="1"/>
              <a:t>Have</a:t>
            </a:r>
            <a:r>
              <a:rPr lang="pl-PL" dirty="0"/>
              <a:t> a nice </a:t>
            </a:r>
            <a:r>
              <a:rPr lang="pl-PL" dirty="0" err="1"/>
              <a:t>hacking</a:t>
            </a:r>
            <a:r>
              <a:rPr lang="pl-PL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6938068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 presentation">
  <a:themeElements>
    <a:clrScheme name="Luxoft 3">
      <a:dk1>
        <a:sysClr val="windowText" lastClr="000000"/>
      </a:dk1>
      <a:lt1>
        <a:sysClr val="window" lastClr="FFFFFF"/>
      </a:lt1>
      <a:dk2>
        <a:srgbClr val="1B2130"/>
      </a:dk2>
      <a:lt2>
        <a:srgbClr val="E7E6E6"/>
      </a:lt2>
      <a:accent1>
        <a:srgbClr val="4E5761"/>
      </a:accent1>
      <a:accent2>
        <a:srgbClr val="EB571C"/>
      </a:accent2>
      <a:accent3>
        <a:srgbClr val="243E79"/>
      </a:accent3>
      <a:accent4>
        <a:srgbClr val="CB642E"/>
      </a:accent4>
      <a:accent5>
        <a:srgbClr val="5480B7"/>
      </a:accent5>
      <a:accent6>
        <a:srgbClr val="4E5761"/>
      </a:accent6>
      <a:hlink>
        <a:srgbClr val="EB571C"/>
      </a:hlink>
      <a:folHlink>
        <a:srgbClr val="4E5761"/>
      </a:folHlink>
    </a:clrScheme>
    <a:fontScheme name="Luxoft - 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luxoft-template-v3.4" id="{F0BBB28C-EED3-4C9E-AC46-0A2469816214}" vid="{F7716D20-A5D3-4677-B270-2AEEC011A1D9}"/>
    </a:ext>
  </a:extLst>
</a:theme>
</file>

<file path=ppt/theme/theme2.xml><?xml version="1.0" encoding="utf-8"?>
<a:theme xmlns:a="http://schemas.openxmlformats.org/drawingml/2006/main" name="Luxoft: Computer / TV">
  <a:themeElements>
    <a:clrScheme name="Luxoft 3">
      <a:dk1>
        <a:sysClr val="windowText" lastClr="000000"/>
      </a:dk1>
      <a:lt1>
        <a:sysClr val="window" lastClr="FFFFFF"/>
      </a:lt1>
      <a:dk2>
        <a:srgbClr val="1B2130"/>
      </a:dk2>
      <a:lt2>
        <a:srgbClr val="E7E6E6"/>
      </a:lt2>
      <a:accent1>
        <a:srgbClr val="4E5761"/>
      </a:accent1>
      <a:accent2>
        <a:srgbClr val="EB571C"/>
      </a:accent2>
      <a:accent3>
        <a:srgbClr val="243E79"/>
      </a:accent3>
      <a:accent4>
        <a:srgbClr val="CB642E"/>
      </a:accent4>
      <a:accent5>
        <a:srgbClr val="5480B7"/>
      </a:accent5>
      <a:accent6>
        <a:srgbClr val="4E5761"/>
      </a:accent6>
      <a:hlink>
        <a:srgbClr val="EB571C"/>
      </a:hlink>
      <a:folHlink>
        <a:srgbClr val="4E5761"/>
      </a:folHlink>
    </a:clrScheme>
    <a:fontScheme name="Luxoft - 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>
            <a:ln>
              <a:noFill/>
            </a:ln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luxoft-template-v3.4" id="{F0BBB28C-EED3-4C9E-AC46-0A2469816214}" vid="{37383A5C-C4E3-4CA0-9820-12933A0EA40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ew presentation</Template>
  <TotalTime>37290</TotalTime>
  <Words>182</Words>
  <Application>Microsoft Macintosh PowerPoint</Application>
  <PresentationFormat>On-screen Show (16:9)</PresentationFormat>
  <Paragraphs>40</Paragraphs>
  <Slides>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rial</vt:lpstr>
      <vt:lpstr>Arial Black</vt:lpstr>
      <vt:lpstr>Calibri</vt:lpstr>
      <vt:lpstr>Open Sans</vt:lpstr>
      <vt:lpstr>Wingdings</vt:lpstr>
      <vt:lpstr>New presentation</vt:lpstr>
      <vt:lpstr>Luxoft: Computer / TV</vt:lpstr>
      <vt:lpstr>think-cell Slide</vt:lpstr>
      <vt:lpstr>PowerPoint Presentation</vt:lpstr>
      <vt:lpstr>OUR BIG IDEA</vt:lpstr>
      <vt:lpstr>KEY FEATURES</vt:lpstr>
      <vt:lpstr>OUR TARGET AUDIENCE</vt:lpstr>
      <vt:lpstr>THAT’S HOW WE MAKE MONEY</vt:lpstr>
      <vt:lpstr>COMPETITORS</vt:lpstr>
      <vt:lpstr>USEFUL HINTS</vt:lpstr>
      <vt:lpstr>Have a nice hacking!</vt:lpstr>
    </vt:vector>
  </TitlesOfParts>
  <Company>Luxoft</Company>
  <LinksUpToDate>false</LinksUpToDate>
  <SharedDoc>false</SharedDoc>
  <HyperlinksChanged>false</HyperlinksChanged>
  <AppVersion>16.0014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tual v Plan Analysis Location: Kiev  FY 2014</dc:title>
  <dc:creator>Lenda, Olena</dc:creator>
  <cp:lastModifiedBy>Microsoft Office User</cp:lastModifiedBy>
  <cp:revision>647</cp:revision>
  <cp:lastPrinted>2016-11-28T09:25:58Z</cp:lastPrinted>
  <dcterms:created xsi:type="dcterms:W3CDTF">2015-05-21T15:14:32Z</dcterms:created>
  <dcterms:modified xsi:type="dcterms:W3CDTF">2018-12-08T06:19:21Z</dcterms:modified>
</cp:coreProperties>
</file>